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notesSlides/notesSlide50.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124.xml" ContentType="application/vnd.openxmlformats-officedocument.presentationml.tags+xml"/>
  <Override PartName="/ppt/notesSlides/notesSlide51.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125.xml" ContentType="application/vnd.openxmlformats-officedocument.presentationml.tags+xml"/>
  <Override PartName="/ppt/notesSlides/notesSlide5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26.xml" ContentType="application/vnd.openxmlformats-officedocument.presentationml.tags+xml"/>
  <Override PartName="/ppt/notesSlides/notesSlide53.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27.xml" ContentType="application/vnd.openxmlformats-officedocument.presentationml.tags+xml"/>
  <Override PartName="/ppt/notesSlides/notesSlide54.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128.xml" ContentType="application/vnd.openxmlformats-officedocument.presentationml.tags+xml"/>
  <Override PartName="/ppt/notesSlides/notesSlide55.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29.xml" ContentType="application/vnd.openxmlformats-officedocument.presentationml.tags+xml"/>
  <Override PartName="/ppt/charts/chart97.xml" ContentType="application/vnd.openxmlformats-officedocument.drawingml.chart+xml"/>
  <Override PartName="/ppt/tags/tag130.xml" ContentType="application/vnd.openxmlformats-officedocument.presentationml.tags+xml"/>
  <Override PartName="/ppt/charts/chart98.xml" ContentType="application/vnd.openxmlformats-officedocument.drawingml.chart+xml"/>
  <Override PartName="/ppt/tags/tag131.xml" ContentType="application/vnd.openxmlformats-officedocument.presentationml.tags+xml"/>
  <Override PartName="/ppt/charts/chart99.xml" ContentType="application/vnd.openxmlformats-officedocument.drawingml.chart+xml"/>
  <Override PartName="/ppt/tags/tag132.xml" ContentType="application/vnd.openxmlformats-officedocument.presentationml.tags+xml"/>
  <Override PartName="/ppt/charts/chart100.xml" ContentType="application/vnd.openxmlformats-officedocument.drawingml.chart+xml"/>
  <Override PartName="/ppt/tags/tag133.xml" ContentType="application/vnd.openxmlformats-officedocument.presentationml.tags+xml"/>
  <Override PartName="/ppt/charts/chart101.xml" ContentType="application/vnd.openxmlformats-officedocument.drawingml.chart+xml"/>
  <Override PartName="/ppt/tags/tag134.xml" ContentType="application/vnd.openxmlformats-officedocument.presentationml.tags+xml"/>
  <Override PartName="/ppt/charts/chart102.xml" ContentType="application/vnd.openxmlformats-officedocument.drawingml.chart+xml"/>
  <Override PartName="/ppt/tags/tag135.xml" ContentType="application/vnd.openxmlformats-officedocument.presentationml.tags+xml"/>
  <Override PartName="/ppt/charts/chart103.xml" ContentType="application/vnd.openxmlformats-officedocument.drawingml.chart+xml"/>
  <Override PartName="/ppt/tags/tag136.xml" ContentType="application/vnd.openxmlformats-officedocument.presentationml.tags+xml"/>
  <Override PartName="/ppt/charts/chart104.xml" ContentType="application/vnd.openxmlformats-officedocument.drawingml.chart+xml"/>
  <Override PartName="/ppt/tags/tag137.xml" ContentType="application/vnd.openxmlformats-officedocument.presentationml.tags+xml"/>
  <Override PartName="/ppt/charts/chart105.xml" ContentType="application/vnd.openxmlformats-officedocument.drawingml.chart+xml"/>
  <Override PartName="/ppt/tags/tag138.xml" ContentType="application/vnd.openxmlformats-officedocument.presentationml.tags+xml"/>
  <Override PartName="/ppt/charts/chart106.xml" ContentType="application/vnd.openxmlformats-officedocument.drawingml.chart+xml"/>
  <Override PartName="/ppt/tags/tag139.xml" ContentType="application/vnd.openxmlformats-officedocument.presentationml.tags+xml"/>
  <Override PartName="/ppt/charts/chart107.xml" ContentType="application/vnd.openxmlformats-officedocument.drawingml.chart+xml"/>
  <Override PartName="/ppt/tags/tag140.xml" ContentType="application/vnd.openxmlformats-officedocument.presentationml.tags+xml"/>
  <Override PartName="/ppt/charts/chart108.xml" ContentType="application/vnd.openxmlformats-officedocument.drawingml.chart+xml"/>
  <Override PartName="/ppt/tags/tag141.xml" ContentType="application/vnd.openxmlformats-officedocument.presentationml.tags+xml"/>
  <Override PartName="/ppt/notesSlides/notesSlide56.xml" ContentType="application/vnd.openxmlformats-officedocument.presentationml.notesSlid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tags/tag142.xml" ContentType="application/vnd.openxmlformats-officedocument.presentationml.tags+xml"/>
  <Override PartName="/ppt/notesSlides/notesSlide57.xml" ContentType="application/vnd.openxmlformats-officedocument.presentationml.notesSlide+xml"/>
  <Override PartName="/ppt/charts/chart110.xml" ContentType="application/vnd.openxmlformats-officedocument.drawingml.chart+xml"/>
  <Override PartName="/ppt/charts/style20.xml" ContentType="application/vnd.ms-office.chartstyle+xml"/>
  <Override PartName="/ppt/charts/colors20.xml" ContentType="application/vnd.ms-office.chartcolorstyle+xml"/>
  <Override PartName="/ppt/tags/tag143.xml" ContentType="application/vnd.openxmlformats-officedocument.presentationml.tags+xml"/>
  <Override PartName="/ppt/notesSlides/notesSlide58.xml" ContentType="application/vnd.openxmlformats-officedocument.presentationml.notesSlide+xml"/>
  <Override PartName="/ppt/charts/chart111.xml" ContentType="application/vnd.openxmlformats-officedocument.drawingml.chart+xml"/>
  <Override PartName="/ppt/charts/style21.xml" ContentType="application/vnd.ms-office.chartstyle+xml"/>
  <Override PartName="/ppt/charts/colors21.xml" ContentType="application/vnd.ms-office.chartcolorstyle+xml"/>
  <Override PartName="/ppt/tags/tag144.xml" ContentType="application/vnd.openxmlformats-officedocument.presentationml.tags+xml"/>
  <Override PartName="/ppt/notesSlides/notesSlide59.xml" ContentType="application/vnd.openxmlformats-officedocument.presentationml.notesSlide+xml"/>
  <Override PartName="/ppt/charts/chart112.xml" ContentType="application/vnd.openxmlformats-officedocument.drawingml.chart+xml"/>
  <Override PartName="/ppt/charts/style22.xml" ContentType="application/vnd.ms-office.chartstyle+xml"/>
  <Override PartName="/ppt/charts/colors22.xml" ContentType="application/vnd.ms-office.chartcolorstyle+xml"/>
  <Override PartName="/ppt/tags/tag145.xml" ContentType="application/vnd.openxmlformats-officedocument.presentationml.tags+xml"/>
  <Override PartName="/ppt/notesSlides/notesSlide60.xml" ContentType="application/vnd.openxmlformats-officedocument.presentationml.notesSlide+xml"/>
  <Override PartName="/ppt/charts/chart113.xml" ContentType="application/vnd.openxmlformats-officedocument.drawingml.chart+xml"/>
  <Override PartName="/ppt/charts/style23.xml" ContentType="application/vnd.ms-office.chartstyle+xml"/>
  <Override PartName="/ppt/charts/colors23.xml" ContentType="application/vnd.ms-office.chartcolorstyle+xml"/>
  <Override PartName="/ppt/tags/tag146.xml" ContentType="application/vnd.openxmlformats-officedocument.presentationml.tags+xml"/>
  <Override PartName="/ppt/notesSlides/notesSlide61.xml" ContentType="application/vnd.openxmlformats-officedocument.presentationml.notesSlide+xml"/>
  <Override PartName="/ppt/charts/chart114.xml" ContentType="application/vnd.openxmlformats-officedocument.drawingml.chart+xml"/>
  <Override PartName="/ppt/charts/style24.xml" ContentType="application/vnd.ms-office.chartstyle+xml"/>
  <Override PartName="/ppt/charts/colors24.xml" ContentType="application/vnd.ms-office.chartcolorstyle+xml"/>
  <Override PartName="/ppt/tags/tag147.xml" ContentType="application/vnd.openxmlformats-officedocument.presentationml.tags+xml"/>
  <Override PartName="/ppt/notesSlides/notesSlide62.xml" ContentType="application/vnd.openxmlformats-officedocument.presentationml.notesSlide+xml"/>
  <Override PartName="/ppt/charts/chart115.xml" ContentType="application/vnd.openxmlformats-officedocument.drawingml.chart+xml"/>
  <Override PartName="/ppt/charts/style25.xml" ContentType="application/vnd.ms-office.chartstyle+xml"/>
  <Override PartName="/ppt/charts/colors25.xml" ContentType="application/vnd.ms-office.chartcolorstyle+xml"/>
  <Override PartName="/ppt/tags/tag148.xml" ContentType="application/vnd.openxmlformats-officedocument.presentationml.tags+xml"/>
  <Override PartName="/ppt/notesSlides/notesSlide63.xml" ContentType="application/vnd.openxmlformats-officedocument.presentationml.notesSlide+xml"/>
  <Override PartName="/ppt/charts/chart116.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64.xml" ContentType="application/vnd.openxmlformats-officedocument.presentationml.notesSlide+xml"/>
  <Override PartName="/ppt/charts/chart117.xml" ContentType="application/vnd.openxmlformats-officedocument.drawingml.chart+xml"/>
  <Override PartName="/ppt/charts/style27.xml" ContentType="application/vnd.ms-office.chartstyle+xml"/>
  <Override PartName="/ppt/charts/colors27.xml" ContentType="application/vnd.ms-office.chartcolorstyle+xml"/>
  <Override PartName="/ppt/tags/tag150.xml" ContentType="application/vnd.openxmlformats-officedocument.presentationml.tags+xml"/>
  <Override PartName="/ppt/notesSlides/notesSlide65.xml" ContentType="application/vnd.openxmlformats-officedocument.presentationml.notesSlide+xml"/>
  <Override PartName="/ppt/charts/chart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1.xml" ContentType="application/vnd.openxmlformats-officedocument.presentationml.tags+xml"/>
  <Override PartName="/ppt/notesSlides/notesSlide66.xml" ContentType="application/vnd.openxmlformats-officedocument.presentationml.notesSlide+xml"/>
  <Override PartName="/ppt/charts/chart119.xml" ContentType="application/vnd.openxmlformats-officedocument.drawingml.chart+xml"/>
  <Override PartName="/ppt/charts/style29.xml" ContentType="application/vnd.ms-office.chartstyle+xml"/>
  <Override PartName="/ppt/charts/colors29.xml" ContentType="application/vnd.ms-office.chartcolorstyle+xml"/>
  <Override PartName="/ppt/tags/tag152.xml" ContentType="application/vnd.openxmlformats-officedocument.presentationml.tags+xml"/>
  <Override PartName="/ppt/notesSlides/notesSlide67.xml" ContentType="application/vnd.openxmlformats-officedocument.presentationml.notesSlide+xml"/>
  <Override PartName="/ppt/charts/chart120.xml" ContentType="application/vnd.openxmlformats-officedocument.drawingml.chart+xml"/>
  <Override PartName="/ppt/charts/style30.xml" ContentType="application/vnd.ms-office.chartstyle+xml"/>
  <Override PartName="/ppt/charts/colors30.xml" ContentType="application/vnd.ms-office.chartcolorstyle+xml"/>
  <Override PartName="/ppt/tags/tag153.xml" ContentType="application/vnd.openxmlformats-officedocument.presentationml.tags+xml"/>
  <Override PartName="/ppt/notesSlides/notesSlide68.xml" ContentType="application/vnd.openxmlformats-officedocument.presentationml.notesSlide+xml"/>
  <Override PartName="/ppt/charts/chart121.xml" ContentType="application/vnd.openxmlformats-officedocument.drawingml.chart+xml"/>
  <Override PartName="/ppt/charts/style31.xml" ContentType="application/vnd.ms-office.chartstyle+xml"/>
  <Override PartName="/ppt/charts/colors31.xml" ContentType="application/vnd.ms-office.chartcolorstyle+xml"/>
  <Override PartName="/ppt/tags/tag154.xml" ContentType="application/vnd.openxmlformats-officedocument.presentationml.tags+xml"/>
  <Override PartName="/ppt/notesSlides/notesSlide69.xml" ContentType="application/vnd.openxmlformats-officedocument.presentationml.notesSlide+xml"/>
  <Override PartName="/ppt/charts/chart122.xml" ContentType="application/vnd.openxmlformats-officedocument.drawingml.chart+xml"/>
  <Override PartName="/ppt/charts/style32.xml" ContentType="application/vnd.ms-office.chartstyle+xml"/>
  <Override PartName="/ppt/charts/colors32.xml" ContentType="application/vnd.ms-office.chartcolorstyle+xml"/>
  <Override PartName="/ppt/tags/tag155.xml" ContentType="application/vnd.openxmlformats-officedocument.presentationml.tags+xml"/>
  <Override PartName="/ppt/notesSlides/notesSlide70.xml" ContentType="application/vnd.openxmlformats-officedocument.presentationml.notesSlide+xml"/>
  <Override PartName="/ppt/charts/chart123.xml" ContentType="application/vnd.openxmlformats-officedocument.drawingml.chart+xml"/>
  <Override PartName="/ppt/charts/style33.xml" ContentType="application/vnd.ms-office.chartstyle+xml"/>
  <Override PartName="/ppt/charts/colors33.xml" ContentType="application/vnd.ms-office.chartcolorstyle+xml"/>
  <Override PartName="/ppt/tags/tag156.xml" ContentType="application/vnd.openxmlformats-officedocument.presentationml.tags+xml"/>
  <Override PartName="/ppt/notesSlides/notesSlide71.xml" ContentType="application/vnd.openxmlformats-officedocument.presentationml.notesSlide+xml"/>
  <Override PartName="/ppt/charts/chart124.xml" ContentType="application/vnd.openxmlformats-officedocument.drawingml.chart+xml"/>
  <Override PartName="/ppt/charts/style34.xml" ContentType="application/vnd.ms-office.chartstyle+xml"/>
  <Override PartName="/ppt/charts/colors34.xml" ContentType="application/vnd.ms-office.chartcolorstyle+xml"/>
  <Override PartName="/ppt/tags/tag157.xml" ContentType="application/vnd.openxmlformats-officedocument.presentationml.tags+xml"/>
  <Override PartName="/ppt/notesSlides/notesSlide72.xml" ContentType="application/vnd.openxmlformats-officedocument.presentationml.notesSlide+xml"/>
  <Override PartName="/ppt/charts/chart125.xml" ContentType="application/vnd.openxmlformats-officedocument.drawingml.chart+xml"/>
  <Override PartName="/ppt/charts/style35.xml" ContentType="application/vnd.ms-office.chartstyle+xml"/>
  <Override PartName="/ppt/charts/colors35.xml" ContentType="application/vnd.ms-office.chartcolorstyle+xml"/>
  <Override PartName="/ppt/tags/tag158.xml" ContentType="application/vnd.openxmlformats-officedocument.presentationml.tags+xml"/>
  <Override PartName="/ppt/charts/chart126.xml" ContentType="application/vnd.openxmlformats-officedocument.drawingml.chart+xml"/>
  <Override PartName="/ppt/tags/tag159.xml" ContentType="application/vnd.openxmlformats-officedocument.presentationml.tags+xml"/>
  <Override PartName="/ppt/charts/chart127.xml" ContentType="application/vnd.openxmlformats-officedocument.drawingml.chart+xml"/>
  <Override PartName="/ppt/tags/tag160.xml" ContentType="application/vnd.openxmlformats-officedocument.presentationml.tags+xml"/>
  <Override PartName="/ppt/charts/chart128.xml" ContentType="application/vnd.openxmlformats-officedocument.drawingml.chart+xml"/>
  <Override PartName="/ppt/tags/tag161.xml" ContentType="application/vnd.openxmlformats-officedocument.presentationml.tags+xml"/>
  <Override PartName="/ppt/charts/chart129.xml" ContentType="application/vnd.openxmlformats-officedocument.drawingml.chart+xml"/>
  <Override PartName="/ppt/tags/tag162.xml" ContentType="application/vnd.openxmlformats-officedocument.presentationml.tags+xml"/>
  <Override PartName="/ppt/charts/chart130.xml" ContentType="application/vnd.openxmlformats-officedocument.drawingml.chart+xml"/>
  <Override PartName="/ppt/tags/tag163.xml" ContentType="application/vnd.openxmlformats-officedocument.presentationml.tags+xml"/>
  <Override PartName="/ppt/charts/chart131.xml" ContentType="application/vnd.openxmlformats-officedocument.drawingml.chart+xml"/>
  <Override PartName="/ppt/tags/tag164.xml" ContentType="application/vnd.openxmlformats-officedocument.presentationml.tags+xml"/>
  <Override PartName="/ppt/charts/chart132.xml" ContentType="application/vnd.openxmlformats-officedocument.drawingml.chart+xml"/>
  <Override PartName="/ppt/tags/tag165.xml" ContentType="application/vnd.openxmlformats-officedocument.presentationml.tags+xml"/>
  <Override PartName="/ppt/charts/chart133.xml" ContentType="application/vnd.openxmlformats-officedocument.drawingml.chart+xml"/>
  <Override PartName="/ppt/tags/tag166.xml" ContentType="application/vnd.openxmlformats-officedocument.presentationml.tags+xml"/>
  <Override PartName="/ppt/charts/chart134.xml" ContentType="application/vnd.openxmlformats-officedocument.drawingml.chart+xml"/>
  <Override PartName="/ppt/tags/tag167.xml" ContentType="application/vnd.openxmlformats-officedocument.presentationml.tags+xml"/>
  <Override PartName="/ppt/charts/chart135.xml" ContentType="application/vnd.openxmlformats-officedocument.drawingml.chart+xml"/>
  <Override PartName="/ppt/tags/tag168.xml" ContentType="application/vnd.openxmlformats-officedocument.presentationml.tags+xml"/>
  <Override PartName="/ppt/charts/chart136.xml" ContentType="application/vnd.openxmlformats-officedocument.drawingml.chart+xml"/>
  <Override PartName="/ppt/tags/tag169.xml" ContentType="application/vnd.openxmlformats-officedocument.presentationml.tags+xml"/>
  <Override PartName="/ppt/charts/chart137.xml" ContentType="application/vnd.openxmlformats-officedocument.drawingml.chart+xml"/>
  <Override PartName="/ppt/tags/tag170.xml" ContentType="application/vnd.openxmlformats-officedocument.presentationml.tags+xml"/>
  <Override PartName="/ppt/charts/chart138.xml" ContentType="application/vnd.openxmlformats-officedocument.drawingml.chart+xml"/>
  <Override PartName="/ppt/tags/tag171.xml" ContentType="application/vnd.openxmlformats-officedocument.presentationml.tags+xml"/>
  <Override PartName="/ppt/charts/chart139.xml" ContentType="application/vnd.openxmlformats-officedocument.drawingml.chart+xml"/>
  <Override PartName="/ppt/tags/tag172.xml" ContentType="application/vnd.openxmlformats-officedocument.presentationml.tags+xml"/>
  <Override PartName="/ppt/charts/chart140.xml" ContentType="application/vnd.openxmlformats-officedocument.drawingml.chart+xml"/>
  <Override PartName="/ppt/tags/tag173.xml" ContentType="application/vnd.openxmlformats-officedocument.presentationml.tags+xml"/>
  <Override PartName="/ppt/charts/chart141.xml" ContentType="application/vnd.openxmlformats-officedocument.drawingml.chart+xml"/>
  <Override PartName="/ppt/tags/tag174.xml" ContentType="application/vnd.openxmlformats-officedocument.presentationml.tags+xml"/>
  <Override PartName="/ppt/charts/chart142.xml" ContentType="application/vnd.openxmlformats-officedocument.drawingml.chart+xml"/>
  <Override PartName="/ppt/tags/tag175.xml" ContentType="application/vnd.openxmlformats-officedocument.presentationml.tags+xml"/>
  <Override PartName="/ppt/charts/chart143.xml" ContentType="application/vnd.openxmlformats-officedocument.drawingml.chart+xml"/>
  <Override PartName="/ppt/tags/tag176.xml" ContentType="application/vnd.openxmlformats-officedocument.presentationml.tags+xml"/>
  <Override PartName="/ppt/charts/chart144.xml" ContentType="application/vnd.openxmlformats-officedocument.drawingml.chart+xml"/>
  <Override PartName="/ppt/tags/tag177.xml" ContentType="application/vnd.openxmlformats-officedocument.presentationml.tags+xml"/>
  <Override PartName="/ppt/charts/chart145.xml" ContentType="application/vnd.openxmlformats-officedocument.drawingml.chart+xml"/>
  <Override PartName="/ppt/tags/tag178.xml" ContentType="application/vnd.openxmlformats-officedocument.presentationml.tags+xml"/>
  <Override PartName="/ppt/charts/chart146.xml" ContentType="application/vnd.openxmlformats-officedocument.drawingml.chart+xml"/>
  <Override PartName="/ppt/tags/tag179.xml" ContentType="application/vnd.openxmlformats-officedocument.presentationml.tags+xml"/>
  <Override PartName="/ppt/charts/chart147.xml" ContentType="application/vnd.openxmlformats-officedocument.drawingml.chart+xml"/>
  <Override PartName="/ppt/tags/tag180.xml" ContentType="application/vnd.openxmlformats-officedocument.presentationml.tags+xml"/>
  <Override PartName="/ppt/charts/chart148.xml" ContentType="application/vnd.openxmlformats-officedocument.drawingml.chart+xml"/>
  <Override PartName="/ppt/tags/tag181.xml" ContentType="application/vnd.openxmlformats-officedocument.presentationml.tags+xml"/>
  <Override PartName="/ppt/charts/chart149.xml" ContentType="application/vnd.openxmlformats-officedocument.drawingml.chart+xml"/>
  <Override PartName="/ppt/tags/tag182.xml" ContentType="application/vnd.openxmlformats-officedocument.presentationml.tags+xml"/>
  <Override PartName="/ppt/charts/chart150.xml" ContentType="application/vnd.openxmlformats-officedocument.drawingml.chart+xml"/>
  <Override PartName="/ppt/tags/tag183.xml" ContentType="application/vnd.openxmlformats-officedocument.presentationml.tags+xml"/>
  <Override PartName="/ppt/charts/chart151.xml" ContentType="application/vnd.openxmlformats-officedocument.drawingml.chart+xml"/>
  <Override PartName="/ppt/tags/tag184.xml" ContentType="application/vnd.openxmlformats-officedocument.presentationml.tags+xml"/>
  <Override PartName="/ppt/charts/chart152.xml" ContentType="application/vnd.openxmlformats-officedocument.drawingml.chart+xml"/>
  <Override PartName="/ppt/tags/tag185.xml" ContentType="application/vnd.openxmlformats-officedocument.presentationml.tags+xml"/>
  <Override PartName="/ppt/charts/chart153.xml" ContentType="application/vnd.openxmlformats-officedocument.drawingml.chart+xml"/>
  <Override PartName="/ppt/tags/tag186.xml" ContentType="application/vnd.openxmlformats-officedocument.presentationml.tags+xml"/>
  <Override PartName="/ppt/charts/chart154.xml" ContentType="application/vnd.openxmlformats-officedocument.drawingml.chart+xml"/>
  <Override PartName="/ppt/tags/tag187.xml" ContentType="application/vnd.openxmlformats-officedocument.presentationml.tags+xml"/>
  <Override PartName="/ppt/charts/chart155.xml" ContentType="application/vnd.openxmlformats-officedocument.drawingml.chart+xml"/>
  <Override PartName="/ppt/tags/tag188.xml" ContentType="application/vnd.openxmlformats-officedocument.presentationml.tags+xml"/>
  <Override PartName="/ppt/charts/chart156.xml" ContentType="application/vnd.openxmlformats-officedocument.drawingml.chart+xml"/>
  <Override PartName="/ppt/tags/tag189.xml" ContentType="application/vnd.openxmlformats-officedocument.presentationml.tags+xml"/>
  <Override PartName="/ppt/charts/chart157.xml" ContentType="application/vnd.openxmlformats-officedocument.drawingml.chart+xml"/>
  <Override PartName="/ppt/tags/tag190.xml" ContentType="application/vnd.openxmlformats-officedocument.presentationml.tags+xml"/>
  <Override PartName="/ppt/charts/chart158.xml" ContentType="application/vnd.openxmlformats-officedocument.drawingml.chart+xml"/>
  <Override PartName="/ppt/tags/tag191.xml" ContentType="application/vnd.openxmlformats-officedocument.presentationml.tags+xml"/>
  <Override PartName="/ppt/charts/chart15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160.xml" ContentType="application/vnd.openxmlformats-officedocument.drawingml.chart+xml"/>
  <Override PartName="/ppt/charts/style37.xml" ContentType="application/vnd.ms-office.chartstyle+xml"/>
  <Override PartName="/ppt/charts/colors37.xml" ContentType="application/vnd.ms-office.chartcolorstyle+xml"/>
  <Override PartName="/ppt/tags/tag192.xml" ContentType="application/vnd.openxmlformats-officedocument.presentationml.tags+xml"/>
  <Override PartName="/ppt/charts/chart161.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162.xml" ContentType="application/vnd.openxmlformats-officedocument.drawingml.chart+xml"/>
  <Override PartName="/ppt/charts/style39.xml" ContentType="application/vnd.ms-office.chartstyle+xml"/>
  <Override PartName="/ppt/charts/colors39.xml" ContentType="application/vnd.ms-office.chartcolorstyle+xml"/>
  <Override PartName="/ppt/tags/tag193.xml" ContentType="application/vnd.openxmlformats-officedocument.presentationml.tags+xml"/>
  <Override PartName="/ppt/charts/chart163.xml" ContentType="application/vnd.openxmlformats-officedocument.drawingml.chart+xml"/>
  <Override PartName="/ppt/tags/tag194.xml" ContentType="application/vnd.openxmlformats-officedocument.presentationml.tags+xml"/>
  <Override PartName="/ppt/charts/chart164.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165.xml" ContentType="application/vnd.openxmlformats-officedocument.drawingml.chart+xml"/>
  <Override PartName="/ppt/charts/style41.xml" ContentType="application/vnd.ms-office.chartstyle+xml"/>
  <Override PartName="/ppt/charts/colors41.xml" ContentType="application/vnd.ms-office.chartcolorstyle+xml"/>
  <Override PartName="/ppt/tags/tag195.xml" ContentType="application/vnd.openxmlformats-officedocument.presentationml.tags+xml"/>
  <Override PartName="/ppt/charts/chart16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167.xml" ContentType="application/vnd.openxmlformats-officedocument.drawingml.chart+xml"/>
  <Override PartName="/ppt/charts/style43.xml" ContentType="application/vnd.ms-office.chartstyle+xml"/>
  <Override PartName="/ppt/charts/colors43.xml" ContentType="application/vnd.ms-office.chartcolorstyle+xml"/>
  <Override PartName="/ppt/tags/tag196.xml" ContentType="application/vnd.openxmlformats-officedocument.presentationml.tags+xml"/>
  <Override PartName="/ppt/charts/chart168.xml" ContentType="application/vnd.openxmlformats-officedocument.drawingml.chart+xml"/>
  <Override PartName="/ppt/tags/tag197.xml" ContentType="application/vnd.openxmlformats-officedocument.presentationml.tags+xml"/>
  <Override PartName="/ppt/charts/chart169.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170.xml" ContentType="application/vnd.openxmlformats-officedocument.drawingml.chart+xml"/>
  <Override PartName="/ppt/charts/style45.xml" ContentType="application/vnd.ms-office.chartstyle+xml"/>
  <Override PartName="/ppt/charts/colors45.xml" ContentType="application/vnd.ms-office.chartcolorstyle+xml"/>
  <Override PartName="/ppt/tags/tag198.xml" ContentType="application/vnd.openxmlformats-officedocument.presentationml.tags+xml"/>
  <Override PartName="/ppt/charts/chart171.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72.xml" ContentType="application/vnd.openxmlformats-officedocument.drawingml.chart+xml"/>
  <Override PartName="/ppt/charts/style47.xml" ContentType="application/vnd.ms-office.chartstyle+xml"/>
  <Override PartName="/ppt/charts/colors47.xml" ContentType="application/vnd.ms-office.chartcolorstyle+xml"/>
  <Override PartName="/ppt/tags/tag199.xml" ContentType="application/vnd.openxmlformats-officedocument.presentationml.tags+xml"/>
  <Override PartName="/ppt/charts/chart17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74.xml" ContentType="application/vnd.openxmlformats-officedocument.drawingml.chart+xml"/>
  <Override PartName="/ppt/charts/style49.xml" ContentType="application/vnd.ms-office.chartstyle+xml"/>
  <Override PartName="/ppt/charts/colors49.xml" ContentType="application/vnd.ms-office.chartcolorstyle+xml"/>
  <Override PartName="/ppt/tags/tag200.xml" ContentType="application/vnd.openxmlformats-officedocument.presentationml.tags+xml"/>
  <Override PartName="/ppt/charts/chart175.xml" ContentType="application/vnd.openxmlformats-officedocument.drawingml.chart+xml"/>
  <Override PartName="/ppt/tags/tag201.xml" ContentType="application/vnd.openxmlformats-officedocument.presentationml.tags+xml"/>
  <Override PartName="/ppt/charts/chart176.xml" ContentType="application/vnd.openxmlformats-officedocument.drawingml.chart+xml"/>
  <Override PartName="/ppt/tags/tag202.xml" ContentType="application/vnd.openxmlformats-officedocument.presentationml.tags+xml"/>
  <Override PartName="/ppt/charts/chart177.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78.xml" ContentType="application/vnd.openxmlformats-officedocument.drawingml.chart+xml"/>
  <Override PartName="/ppt/charts/style51.xml" ContentType="application/vnd.ms-office.chartstyle+xml"/>
  <Override PartName="/ppt/charts/colors51.xml" ContentType="application/vnd.ms-office.chartcolorstyle+xml"/>
  <Override PartName="/ppt/tags/tag203.xml" ContentType="application/vnd.openxmlformats-officedocument.presentationml.tags+xml"/>
  <Override PartName="/ppt/charts/chart179.xml" ContentType="application/vnd.openxmlformats-officedocument.drawingml.chart+xml"/>
  <Override PartName="/ppt/tags/tag204.xml" ContentType="application/vnd.openxmlformats-officedocument.presentationml.tags+xml"/>
  <Override PartName="/ppt/charts/chart180.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181.xml" ContentType="application/vnd.openxmlformats-officedocument.drawingml.chart+xml"/>
  <Override PartName="/ppt/charts/style53.xml" ContentType="application/vnd.ms-office.chartstyle+xml"/>
  <Override PartName="/ppt/charts/colors53.xml" ContentType="application/vnd.ms-office.chartcolorstyle+xml"/>
  <Override PartName="/ppt/tags/tag205.xml" ContentType="application/vnd.openxmlformats-officedocument.presentationml.tags+xml"/>
  <Override PartName="/ppt/charts/chart182.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83.xml" ContentType="application/vnd.openxmlformats-officedocument.drawingml.chart+xml"/>
  <Override PartName="/ppt/charts/style55.xml" ContentType="application/vnd.ms-office.chartstyle+xml"/>
  <Override PartName="/ppt/charts/colors55.xml" ContentType="application/vnd.ms-office.chartcolorstyle+xml"/>
  <Override PartName="/ppt/tags/tag206.xml" ContentType="application/vnd.openxmlformats-officedocument.presentationml.tags+xml"/>
  <Override PartName="/ppt/charts/chart184.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185.xml" ContentType="application/vnd.openxmlformats-officedocument.drawingml.chart+xml"/>
  <Override PartName="/ppt/charts/style57.xml" ContentType="application/vnd.ms-office.chartstyle+xml"/>
  <Override PartName="/ppt/charts/colors57.xml" ContentType="application/vnd.ms-office.chartcolorstyle+xml"/>
  <Override PartName="/ppt/tags/tag207.xml" ContentType="application/vnd.openxmlformats-officedocument.presentationml.tags+xml"/>
  <Override PartName="/ppt/charts/chart186.xml" ContentType="application/vnd.openxmlformats-officedocument.drawingml.chart+xml"/>
  <Override PartName="/ppt/tags/tag208.xml" ContentType="application/vnd.openxmlformats-officedocument.presentationml.tags+xml"/>
  <Override PartName="/ppt/charts/chart187.xml" ContentType="application/vnd.openxmlformats-officedocument.drawingml.chart+xml"/>
  <Override PartName="/ppt/tags/tag209.xml" ContentType="application/vnd.openxmlformats-officedocument.presentationml.tags+xml"/>
  <Override PartName="/ppt/charts/chart188.xml" ContentType="application/vnd.openxmlformats-officedocument.drawingml.chart+xml"/>
  <Override PartName="/ppt/tags/tag210.xml" ContentType="application/vnd.openxmlformats-officedocument.presentationml.tags+xml"/>
  <Override PartName="/ppt/charts/chart189.xml" ContentType="application/vnd.openxmlformats-officedocument.drawingml.chart+xml"/>
  <Override PartName="/ppt/tags/tag211.xml" ContentType="application/vnd.openxmlformats-officedocument.presentationml.tags+xml"/>
  <Override PartName="/ppt/charts/chart190.xml" ContentType="application/vnd.openxmlformats-officedocument.drawingml.chart+xml"/>
  <Override PartName="/ppt/tags/tag212.xml" ContentType="application/vnd.openxmlformats-officedocument.presentationml.tags+xml"/>
  <Override PartName="/ppt/charts/chart191.xml" ContentType="application/vnd.openxmlformats-officedocument.drawingml.chart+xml"/>
  <Override PartName="/ppt/tags/tag213.xml" ContentType="application/vnd.openxmlformats-officedocument.presentationml.tags+xml"/>
  <Override PartName="/ppt/charts/chart192.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193.xml" ContentType="application/vnd.openxmlformats-officedocument.drawingml.chart+xml"/>
  <Override PartName="/ppt/tags/tag214.xml" ContentType="application/vnd.openxmlformats-officedocument.presentationml.tags+xml"/>
  <Override PartName="/ppt/charts/chart194.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195.xml" ContentType="application/vnd.openxmlformats-officedocument.drawingml.chart+xml"/>
  <Override PartName="/ppt/tags/tag215.xml" ContentType="application/vnd.openxmlformats-officedocument.presentationml.tags+xml"/>
  <Override PartName="/ppt/charts/chart196.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197.xml" ContentType="application/vnd.openxmlformats-officedocument.drawingml.chart+xml"/>
  <Override PartName="/ppt/tags/tag216.xml" ContentType="application/vnd.openxmlformats-officedocument.presentationml.tags+xml"/>
  <Override PartName="/ppt/charts/chart198.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199.xml" ContentType="application/vnd.openxmlformats-officedocument.drawingml.chart+xml"/>
  <Override PartName="/ppt/tags/tag217.xml" ContentType="application/vnd.openxmlformats-officedocument.presentationml.tags+xml"/>
  <Override PartName="/ppt/charts/chart200.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201.xml" ContentType="application/vnd.openxmlformats-officedocument.drawingml.chart+xml"/>
  <Override PartName="/ppt/tags/tag218.xml" ContentType="application/vnd.openxmlformats-officedocument.presentationml.tags+xml"/>
  <Override PartName="/ppt/charts/chart202.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203.xml" ContentType="application/vnd.openxmlformats-officedocument.drawingml.chart+xml"/>
  <Override PartName="/ppt/tags/tag219.xml" ContentType="application/vnd.openxmlformats-officedocument.presentationml.tags+xml"/>
  <Override PartName="/ppt/charts/chart20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205.xml" ContentType="application/vnd.openxmlformats-officedocument.drawingml.chart+xml"/>
  <Override PartName="/ppt/tags/tag220.xml" ContentType="application/vnd.openxmlformats-officedocument.presentationml.tags+xml"/>
  <Override PartName="/ppt/charts/chart206.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207.xml" ContentType="application/vnd.openxmlformats-officedocument.drawingml.chart+xml"/>
  <Override PartName="/ppt/tags/tag221.xml" ContentType="application/vnd.openxmlformats-officedocument.presentationml.tags+xml"/>
  <Override PartName="/ppt/charts/chart208.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209.xml" ContentType="application/vnd.openxmlformats-officedocument.drawingml.chart+xml"/>
  <Override PartName="/ppt/tags/tag222.xml" ContentType="application/vnd.openxmlformats-officedocument.presentationml.tags+xml"/>
  <Override PartName="/ppt/charts/chart210.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211.xml" ContentType="application/vnd.openxmlformats-officedocument.drawingml.chart+xml"/>
  <Override PartName="/ppt/tags/tag223.xml" ContentType="application/vnd.openxmlformats-officedocument.presentationml.tags+xml"/>
  <Override PartName="/ppt/charts/chart21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213.xml" ContentType="application/vnd.openxmlformats-officedocument.drawingml.chart+xml"/>
  <Override PartName="/ppt/tags/tag224.xml" ContentType="application/vnd.openxmlformats-officedocument.presentationml.tags+xml"/>
  <Override PartName="/ppt/charts/chart214.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215.xml" ContentType="application/vnd.openxmlformats-officedocument.drawingml.chart+xml"/>
  <Override PartName="/ppt/tags/tag225.xml" ContentType="application/vnd.openxmlformats-officedocument.presentationml.tags+xml"/>
  <Override PartName="/ppt/charts/chart216.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217.xml" ContentType="application/vnd.openxmlformats-officedocument.drawingml.chart+xml"/>
  <Override PartName="/ppt/tags/tag226.xml" ContentType="application/vnd.openxmlformats-officedocument.presentationml.tags+xml"/>
  <Override PartName="/ppt/charts/chart218.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219.xml" ContentType="application/vnd.openxmlformats-officedocument.drawingml.chart+xml"/>
  <Override PartName="/ppt/tags/tag227.xml" ContentType="application/vnd.openxmlformats-officedocument.presentationml.tags+xml"/>
  <Override PartName="/ppt/charts/chart220.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221.xml" ContentType="application/vnd.openxmlformats-officedocument.drawingml.chart+xml"/>
  <Override PartName="/ppt/tags/tag228.xml" ContentType="application/vnd.openxmlformats-officedocument.presentationml.tags+xml"/>
  <Override PartName="/ppt/charts/chart222.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23.xml" ContentType="application/vnd.openxmlformats-officedocument.drawingml.chart+xml"/>
  <Override PartName="/ppt/tags/tag229.xml" ContentType="application/vnd.openxmlformats-officedocument.presentationml.tags+xml"/>
  <Override PartName="/ppt/charts/chart22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225.xml" ContentType="application/vnd.openxmlformats-officedocument.drawingml.chart+xml"/>
  <Override PartName="/ppt/tags/tag230.xml" ContentType="application/vnd.openxmlformats-officedocument.presentationml.tags+xml"/>
  <Override PartName="/ppt/charts/chart226.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27.xml" ContentType="application/vnd.openxmlformats-officedocument.drawingml.chart+xml"/>
  <Override PartName="/ppt/tags/tag231.xml" ContentType="application/vnd.openxmlformats-officedocument.presentationml.tags+xml"/>
  <Override PartName="/ppt/charts/chart228.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229.xml" ContentType="application/vnd.openxmlformats-officedocument.drawingml.chart+xml"/>
  <Override PartName="/ppt/tags/tag232.xml" ContentType="application/vnd.openxmlformats-officedocument.presentationml.tags+xml"/>
  <Override PartName="/ppt/charts/chart230.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31.xml" ContentType="application/vnd.openxmlformats-officedocument.drawingml.chart+xml"/>
  <Override PartName="/ppt/tags/tag233.xml" ContentType="application/vnd.openxmlformats-officedocument.presentationml.tags+xml"/>
  <Override PartName="/ppt/charts/chart232.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233.xml" ContentType="application/vnd.openxmlformats-officedocument.drawingml.chart+xml"/>
  <Override PartName="/ppt/tags/tag234.xml" ContentType="application/vnd.openxmlformats-officedocument.presentationml.tags+xml"/>
  <Override PartName="/ppt/charts/chart234.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35.xml" ContentType="application/vnd.openxmlformats-officedocument.drawingml.chart+xml"/>
  <Override PartName="/ppt/tags/tag235.xml" ContentType="application/vnd.openxmlformats-officedocument.presentationml.tags+xml"/>
  <Override PartName="/ppt/charts/chart236.xml" ContentType="application/vnd.openxmlformats-officedocument.drawingml.chart+xml"/>
  <Override PartName="/ppt/tags/tag236.xml" ContentType="application/vnd.openxmlformats-officedocument.presentationml.tags+xml"/>
  <Override PartName="/ppt/charts/chart237.xml" ContentType="application/vnd.openxmlformats-officedocument.drawingml.chart+xml"/>
  <Override PartName="/ppt/tags/tag23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tags/tag238.xml" ContentType="application/vnd.openxmlformats-officedocument.presentationml.tags+xml"/>
  <Override PartName="/ppt/charts/chart240.xml" ContentType="application/vnd.openxmlformats-officedocument.drawingml.chart+xml"/>
  <Override PartName="/ppt/charts/chart241.xml" ContentType="application/vnd.openxmlformats-officedocument.drawingml.chart+xml"/>
  <Override PartName="/ppt/tags/tag239.xml" ContentType="application/vnd.openxmlformats-officedocument.presentationml.tags+xml"/>
  <Override PartName="/ppt/charts/chart242.xml" ContentType="application/vnd.openxmlformats-officedocument.drawingml.chart+xml"/>
  <Override PartName="/ppt/tags/tag240.xml" ContentType="application/vnd.openxmlformats-officedocument.presentationml.tags+xml"/>
  <Override PartName="/ppt/charts/chart243.xml" ContentType="application/vnd.openxmlformats-officedocument.drawingml.chart+xml"/>
  <Override PartName="/ppt/tags/tag241.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tags/tag242.xml" ContentType="application/vnd.openxmlformats-officedocument.presentationml.tags+xml"/>
  <Override PartName="/ppt/charts/chart246.xml" ContentType="application/vnd.openxmlformats-officedocument.drawingml.chart+xml"/>
  <Override PartName="/ppt/charts/chart247.xml" ContentType="application/vnd.openxmlformats-officedocument.drawingml.chart+xml"/>
  <Override PartName="/ppt/tags/tag243.xml" ContentType="application/vnd.openxmlformats-officedocument.presentationml.tags+xml"/>
  <Override PartName="/ppt/notesSlides/notesSlide73.xml" ContentType="application/vnd.openxmlformats-officedocument.presentationml.notesSlide+xml"/>
  <Override PartName="/ppt/charts/chart248.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249.xml" ContentType="application/vnd.openxmlformats-officedocument.drawingml.chart+xml"/>
  <Override PartName="/ppt/charts/style81.xml" ContentType="application/vnd.ms-office.chartstyle+xml"/>
  <Override PartName="/ppt/charts/colors81.xml" ContentType="application/vnd.ms-office.chartcolorstyle+xml"/>
  <Override PartName="/ppt/tags/tag244.xml" ContentType="application/vnd.openxmlformats-officedocument.presentationml.tags+xml"/>
  <Override PartName="/ppt/notesSlides/notesSlide74.xml" ContentType="application/vnd.openxmlformats-officedocument.presentationml.notesSlide+xml"/>
  <Override PartName="/ppt/charts/chart250.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251.xml" ContentType="application/vnd.openxmlformats-officedocument.drawingml.chart+xml"/>
  <Override PartName="/ppt/tags/tag245.xml" ContentType="application/vnd.openxmlformats-officedocument.presentationml.tags+xml"/>
  <Override PartName="/ppt/notesSlides/notesSlide75.xml" ContentType="application/vnd.openxmlformats-officedocument.presentationml.notesSlide+xml"/>
  <Override PartName="/ppt/charts/chart252.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53.xml" ContentType="application/vnd.openxmlformats-officedocument.drawingml.chart+xml"/>
  <Override PartName="/ppt/tags/tag246.xml" ContentType="application/vnd.openxmlformats-officedocument.presentationml.tags+xml"/>
  <Override PartName="/ppt/notesSlides/notesSlide76.xml" ContentType="application/vnd.openxmlformats-officedocument.presentationml.notesSlide+xml"/>
  <Override PartName="/ppt/charts/chart254.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255.xml" ContentType="application/vnd.openxmlformats-officedocument.drawingml.chart+xml"/>
  <Override PartName="/ppt/tags/tag247.xml" ContentType="application/vnd.openxmlformats-officedocument.presentationml.tags+xml"/>
  <Override PartName="/ppt/notesSlides/notesSlide77.xml" ContentType="application/vnd.openxmlformats-officedocument.presentationml.notesSlide+xml"/>
  <Override PartName="/ppt/charts/chart256.xml" ContentType="application/vnd.openxmlformats-officedocument.drawingml.chart+xml"/>
  <Override PartName="/ppt/charts/style85.xml" ContentType="application/vnd.ms-office.chartstyle+xml"/>
  <Override PartName="/ppt/charts/colors85.xml" ContentType="application/vnd.ms-office.chartcolorstyle+xml"/>
  <Override PartName="/ppt/tags/tag248.xml" ContentType="application/vnd.openxmlformats-officedocument.presentationml.tags+xml"/>
  <Override PartName="/ppt/notesSlides/notesSlide78.xml" ContentType="application/vnd.openxmlformats-officedocument.presentationml.notesSlide+xml"/>
  <Override PartName="/ppt/charts/chart257.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258.xml" ContentType="application/vnd.openxmlformats-officedocument.drawingml.chart+xml"/>
  <Override PartName="/ppt/tags/tag249.xml" ContentType="application/vnd.openxmlformats-officedocument.presentationml.tags+xml"/>
  <Override PartName="/ppt/notesSlides/notesSlide79.xml" ContentType="application/vnd.openxmlformats-officedocument.presentationml.notesSlide+xml"/>
  <Override PartName="/ppt/charts/chart259.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260.xml" ContentType="application/vnd.openxmlformats-officedocument.drawingml.chart+xml"/>
  <Override PartName="/ppt/charts/style88.xml" ContentType="application/vnd.ms-office.chartstyle+xml"/>
  <Override PartName="/ppt/charts/colors88.xml" ContentType="application/vnd.ms-office.chartcolorstyle+xml"/>
  <Override PartName="/ppt/tags/tag250.xml" ContentType="application/vnd.openxmlformats-officedocument.presentationml.tags+xml"/>
  <Override PartName="/ppt/notesSlides/notesSlide80.xml" ContentType="application/vnd.openxmlformats-officedocument.presentationml.notesSlide+xml"/>
  <Override PartName="/ppt/charts/chart261.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262.xml" ContentType="application/vnd.openxmlformats-officedocument.drawingml.chart+xml"/>
  <Override PartName="/ppt/charts/style90.xml" ContentType="application/vnd.ms-office.chartstyle+xml"/>
  <Override PartName="/ppt/charts/colors90.xml" ContentType="application/vnd.ms-office.chartcolorstyle+xml"/>
  <Override PartName="/ppt/tags/tag251.xml" ContentType="application/vnd.openxmlformats-officedocument.presentationml.tags+xml"/>
  <Override PartName="/ppt/notesSlides/notesSlide81.xml" ContentType="application/vnd.openxmlformats-officedocument.presentationml.notesSlide+xml"/>
  <Override PartName="/ppt/charts/chart263.xml" ContentType="application/vnd.openxmlformats-officedocument.drawingml.chart+xml"/>
  <Override PartName="/ppt/charts/style91.xml" ContentType="application/vnd.ms-office.chartstyle+xml"/>
  <Override PartName="/ppt/charts/colors91.xml" ContentType="application/vnd.ms-office.chartcolorstyle+xml"/>
  <Override PartName="/ppt/tags/tag252.xml" ContentType="application/vnd.openxmlformats-officedocument.presentationml.tags+xml"/>
  <Override PartName="/ppt/notesSlides/notesSlide82.xml" ContentType="application/vnd.openxmlformats-officedocument.presentationml.notesSlide+xml"/>
  <Override PartName="/ppt/charts/chart264.xml" ContentType="application/vnd.openxmlformats-officedocument.drawingml.chart+xml"/>
  <Override PartName="/ppt/charts/style92.xml" ContentType="application/vnd.ms-office.chartstyle+xml"/>
  <Override PartName="/ppt/charts/colors92.xml" ContentType="application/vnd.ms-office.chartcolorstyle+xml"/>
  <Override PartName="/ppt/tags/tag253.xml" ContentType="application/vnd.openxmlformats-officedocument.presentationml.tags+xml"/>
  <Override PartName="/ppt/notesSlides/notesSlide83.xml" ContentType="application/vnd.openxmlformats-officedocument.presentationml.notesSlide+xml"/>
  <Override PartName="/ppt/charts/chart265.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266.xml" ContentType="application/vnd.openxmlformats-officedocument.drawingml.chart+xml"/>
  <Override PartName="/ppt/tags/tag254.xml" ContentType="application/vnd.openxmlformats-officedocument.presentationml.tags+xml"/>
  <Override PartName="/ppt/notesSlides/notesSlide84.xml" ContentType="application/vnd.openxmlformats-officedocument.presentationml.notesSlide+xml"/>
  <Override PartName="/ppt/charts/chart267.xml" ContentType="application/vnd.openxmlformats-officedocument.drawingml.chart+xml"/>
  <Override PartName="/ppt/charts/style94.xml" ContentType="application/vnd.ms-office.chartstyle+xml"/>
  <Override PartName="/ppt/charts/colors94.xml" ContentType="application/vnd.ms-office.chartcolorstyle+xml"/>
  <Override PartName="/ppt/tags/tag255.xml" ContentType="application/vnd.openxmlformats-officedocument.presentationml.tags+xml"/>
  <Override PartName="/ppt/notesSlides/notesSlide85.xml" ContentType="application/vnd.openxmlformats-officedocument.presentationml.notesSlide+xml"/>
  <Override PartName="/ppt/charts/chart268.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69.xml" ContentType="application/vnd.openxmlformats-officedocument.drawingml.chart+xml"/>
  <Override PartName="/ppt/tags/tag256.xml" ContentType="application/vnd.openxmlformats-officedocument.presentationml.tags+xml"/>
  <Override PartName="/ppt/notesSlides/notesSlide86.xml" ContentType="application/vnd.openxmlformats-officedocument.presentationml.notesSlide+xml"/>
  <Override PartName="/ppt/charts/chart270.xml" ContentType="application/vnd.openxmlformats-officedocument.drawingml.chart+xml"/>
  <Override PartName="/ppt/charts/style96.xml" ContentType="application/vnd.ms-office.chartstyle+xml"/>
  <Override PartName="/ppt/charts/colors96.xml" ContentType="application/vnd.ms-office.chartcolorstyle+xml"/>
  <Override PartName="/ppt/charts/chart271.xml" ContentType="application/vnd.openxmlformats-officedocument.drawingml.chart+xml"/>
  <Override PartName="/ppt/charts/style97.xml" ContentType="application/vnd.ms-office.chartstyle+xml"/>
  <Override PartName="/ppt/charts/colors97.xml" ContentType="application/vnd.ms-office.chartcolorstyle+xml"/>
  <Override PartName="/ppt/tags/tag257.xml" ContentType="application/vnd.openxmlformats-officedocument.presentationml.tags+xml"/>
  <Override PartName="/ppt/notesSlides/notesSlide87.xml" ContentType="application/vnd.openxmlformats-officedocument.presentationml.notesSlide+xml"/>
  <Override PartName="/ppt/charts/chart272.xml" ContentType="application/vnd.openxmlformats-officedocument.drawingml.chart+xml"/>
  <Override PartName="/ppt/charts/style98.xml" ContentType="application/vnd.ms-office.chartstyle+xml"/>
  <Override PartName="/ppt/charts/colors98.xml" ContentType="application/vnd.ms-office.chartcolorstyle+xml"/>
  <Override PartName="/ppt/charts/chart273.xml" ContentType="application/vnd.openxmlformats-officedocument.drawingml.chart+xml"/>
  <Override PartName="/ppt/tags/tag258.xml" ContentType="application/vnd.openxmlformats-officedocument.presentationml.tags+xml"/>
  <Override PartName="/ppt/notesSlides/notesSlide88.xml" ContentType="application/vnd.openxmlformats-officedocument.presentationml.notesSlide+xml"/>
  <Override PartName="/ppt/charts/chart274.xml" ContentType="application/vnd.openxmlformats-officedocument.drawingml.chart+xml"/>
  <Override PartName="/ppt/tags/tag259.xml" ContentType="application/vnd.openxmlformats-officedocument.presentationml.tags+xml"/>
  <Override PartName="/ppt/notesSlides/notesSlide89.xml" ContentType="application/vnd.openxmlformats-officedocument.presentationml.notesSlide+xml"/>
  <Override PartName="/ppt/charts/chart275.xml" ContentType="application/vnd.openxmlformats-officedocument.drawingml.chart+xml"/>
  <Override PartName="/ppt/charts/style99.xml" ContentType="application/vnd.ms-office.chartstyle+xml"/>
  <Override PartName="/ppt/charts/colors99.xml" ContentType="application/vnd.ms-office.chartcolorstyle+xml"/>
  <Override PartName="/ppt/tags/tag260.xml" ContentType="application/vnd.openxmlformats-officedocument.presentationml.tags+xml"/>
  <Override PartName="/ppt/notesSlides/notesSlide90.xml" ContentType="application/vnd.openxmlformats-officedocument.presentationml.notesSlide+xml"/>
  <Override PartName="/ppt/charts/chart276.xml" ContentType="application/vnd.openxmlformats-officedocument.drawingml.chart+xml"/>
  <Override PartName="/ppt/charts/style100.xml" ContentType="application/vnd.ms-office.chartstyle+xml"/>
  <Override PartName="/ppt/charts/colors100.xml" ContentType="application/vnd.ms-office.chartcolorstyle+xml"/>
  <Override PartName="/ppt/tags/tag261.xml" ContentType="application/vnd.openxmlformats-officedocument.presentationml.tags+xml"/>
  <Override PartName="/ppt/notesSlides/notesSlide91.xml" ContentType="application/vnd.openxmlformats-officedocument.presentationml.notesSlide+xml"/>
  <Override PartName="/ppt/charts/chart277.xml" ContentType="application/vnd.openxmlformats-officedocument.drawingml.chart+xml"/>
  <Override PartName="/ppt/charts/style101.xml" ContentType="application/vnd.ms-office.chartstyle+xml"/>
  <Override PartName="/ppt/charts/colors101.xml" ContentType="application/vnd.ms-office.chartcolorstyle+xml"/>
  <Override PartName="/ppt/tags/tag262.xml" ContentType="application/vnd.openxmlformats-officedocument.presentationml.tags+xml"/>
  <Override PartName="/ppt/notesSlides/notesSlide92.xml" ContentType="application/vnd.openxmlformats-officedocument.presentationml.notesSlide+xml"/>
  <Override PartName="/ppt/charts/chart278.xml" ContentType="application/vnd.openxmlformats-officedocument.drawingml.chart+xml"/>
  <Override PartName="/ppt/charts/style102.xml" ContentType="application/vnd.ms-office.chartstyle+xml"/>
  <Override PartName="/ppt/charts/colors102.xml" ContentType="application/vnd.ms-office.chartcolorstyle+xml"/>
  <Override PartName="/ppt/tags/tag263.xml" ContentType="application/vnd.openxmlformats-officedocument.presentationml.tags+xml"/>
  <Override PartName="/ppt/notesSlides/notesSlide93.xml" ContentType="application/vnd.openxmlformats-officedocument.presentationml.notesSlide+xml"/>
  <Override PartName="/ppt/charts/chart279.xml" ContentType="application/vnd.openxmlformats-officedocument.drawingml.chart+xml"/>
  <Override PartName="/ppt/charts/chart280.xml" ContentType="application/vnd.openxmlformats-officedocument.drawingml.chart+xml"/>
  <Override PartName="/ppt/tags/tag264.xml" ContentType="application/vnd.openxmlformats-officedocument.presentationml.tags+xml"/>
  <Override PartName="/ppt/notesSlides/notesSlide94.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265.xml" ContentType="application/vnd.openxmlformats-officedocument.presentationml.tags+xml"/>
  <Override PartName="/ppt/notesSlides/notesSlide95.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tags/tag266.xml" ContentType="application/vnd.openxmlformats-officedocument.presentationml.tags+xml"/>
  <Override PartName="/ppt/notesSlides/notesSlide96.xml" ContentType="application/vnd.openxmlformats-officedocument.presentationml.notesSlide+xml"/>
  <Override PartName="/ppt/charts/chart285.xml" ContentType="application/vnd.openxmlformats-officedocument.drawingml.chart+xml"/>
  <Override PartName="/ppt/charts/chart286.xml" ContentType="application/vnd.openxmlformats-officedocument.drawingml.chart+xml"/>
  <Override PartName="/ppt/tags/tag267.xml" ContentType="application/vnd.openxmlformats-officedocument.presentationml.tags+xml"/>
  <Override PartName="/ppt/notesSlides/notesSlide97.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tags/tag268.xml" ContentType="application/vnd.openxmlformats-officedocument.presentationml.tags+xml"/>
  <Override PartName="/ppt/notesSlides/notesSlide98.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269.xml" ContentType="application/vnd.openxmlformats-officedocument.presentationml.tags+xml"/>
  <Override PartName="/ppt/notesSlides/notesSlide99.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tags/tag270.xml" ContentType="application/vnd.openxmlformats-officedocument.presentationml.tags+xml"/>
  <Override PartName="/ppt/notesSlides/notesSlide100.xml" ContentType="application/vnd.openxmlformats-officedocument.presentationml.notesSlide+xml"/>
  <Override PartName="/ppt/charts/chart293.xml" ContentType="application/vnd.openxmlformats-officedocument.drawingml.chart+xml"/>
  <Override PartName="/ppt/charts/chart294.xml" ContentType="application/vnd.openxmlformats-officedocument.drawingml.chart+xml"/>
  <Override PartName="/ppt/tags/tag271.xml" ContentType="application/vnd.openxmlformats-officedocument.presentationml.tags+xml"/>
  <Override PartName="/ppt/notesSlides/notesSlide101.xml" ContentType="application/vnd.openxmlformats-officedocument.presentationml.notesSlide+xml"/>
  <Override PartName="/ppt/charts/chart295.xml" ContentType="application/vnd.openxmlformats-officedocument.drawingml.chart+xml"/>
  <Override PartName="/ppt/charts/chart296.xml" ContentType="application/vnd.openxmlformats-officedocument.drawingml.chart+xml"/>
  <Override PartName="/ppt/tags/tag272.xml" ContentType="application/vnd.openxmlformats-officedocument.presentationml.tags+xml"/>
  <Override PartName="/ppt/notesSlides/notesSlide102.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273.xml" ContentType="application/vnd.openxmlformats-officedocument.presentationml.tags+xml"/>
  <Override PartName="/ppt/notesSlides/notesSlide103.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tags/tag274.xml" ContentType="application/vnd.openxmlformats-officedocument.presentationml.tags+xml"/>
  <Override PartName="/ppt/notesSlides/notesSlide104.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tags/tag275.xml" ContentType="application/vnd.openxmlformats-officedocument.presentationml.tags+xml"/>
  <Override PartName="/ppt/notesSlides/notesSlide105.xml" ContentType="application/vnd.openxmlformats-officedocument.presentationml.notesSlide+xml"/>
  <Override PartName="/ppt/tags/tag276.xml" ContentType="application/vnd.openxmlformats-officedocument.presentationml.tags+xml"/>
  <Override PartName="/ppt/notesSlides/notesSlide106.xml" ContentType="application/vnd.openxmlformats-officedocument.presentationml.notesSlide+xml"/>
  <Override PartName="/ppt/tags/tag277.xml" ContentType="application/vnd.openxmlformats-officedocument.presentationml.tags+xml"/>
  <Override PartName="/ppt/notesSlides/notesSlide107.xml" ContentType="application/vnd.openxmlformats-officedocument.presentationml.notesSlide+xml"/>
  <Override PartName="/ppt/tags/tag278.xml" ContentType="application/vnd.openxmlformats-officedocument.presentationml.tags+xml"/>
  <Override PartName="/ppt/notesSlides/notesSlide108.xml" ContentType="application/vnd.openxmlformats-officedocument.presentationml.notesSlide+xml"/>
  <Override PartName="/ppt/tags/tag279.xml" ContentType="application/vnd.openxmlformats-officedocument.presentationml.tags+xml"/>
  <Override PartName="/ppt/notesSlides/notesSlide109.xml" ContentType="application/vnd.openxmlformats-officedocument.presentationml.notesSlide+xml"/>
  <Override PartName="/ppt/charts/chart3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280.xml" ContentType="application/vnd.openxmlformats-officedocument.presentationml.tags+xml"/>
  <Override PartName="/ppt/notesSlides/notesSlide110.xml" ContentType="application/vnd.openxmlformats-officedocument.presentationml.notesSlide+xml"/>
  <Override PartName="/ppt/charts/chart3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281.xml" ContentType="application/vnd.openxmlformats-officedocument.presentationml.tags+xml"/>
  <Override PartName="/ppt/notesSlides/notesSlide111.xml" ContentType="application/vnd.openxmlformats-officedocument.presentationml.notesSlide+xml"/>
  <Override PartName="/ppt/charts/chart3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282.xml" ContentType="application/vnd.openxmlformats-officedocument.presentationml.tags+xml"/>
  <Override PartName="/ppt/notesSlides/notesSlide112.xml" ContentType="application/vnd.openxmlformats-officedocument.presentationml.notesSlide+xml"/>
  <Override PartName="/ppt/charts/chart3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283.xml" ContentType="application/vnd.openxmlformats-officedocument.presentationml.tags+xml"/>
  <Override PartName="/ppt/notesSlides/notesSlide113.xml" ContentType="application/vnd.openxmlformats-officedocument.presentationml.notesSlide+xml"/>
  <Override PartName="/ppt/charts/chart3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284.xml" ContentType="application/vnd.openxmlformats-officedocument.presentationml.tags+xml"/>
  <Override PartName="/ppt/notesSlides/notesSlide114.xml" ContentType="application/vnd.openxmlformats-officedocument.presentationml.notesSlide+xml"/>
  <Override PartName="/ppt/charts/chart3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285.xml" ContentType="application/vnd.openxmlformats-officedocument.presentationml.tags+xml"/>
  <Override PartName="/ppt/charts/chart309.xml" ContentType="application/vnd.openxmlformats-officedocument.drawingml.chart+xml"/>
  <Override PartName="/ppt/tags/tag286.xml" ContentType="application/vnd.openxmlformats-officedocument.presentationml.tags+xml"/>
  <Override PartName="/ppt/charts/chart310.xml" ContentType="application/vnd.openxmlformats-officedocument.drawingml.chart+xml"/>
  <Override PartName="/ppt/tags/tag287.xml" ContentType="application/vnd.openxmlformats-officedocument.presentationml.tags+xml"/>
  <Override PartName="/ppt/charts/chart311.xml" ContentType="application/vnd.openxmlformats-officedocument.drawingml.chart+xml"/>
  <Override PartName="/ppt/tags/tag288.xml" ContentType="application/vnd.openxmlformats-officedocument.presentationml.tags+xml"/>
  <Override PartName="/ppt/charts/chart312.xml" ContentType="application/vnd.openxmlformats-officedocument.drawingml.chart+xml"/>
  <Override PartName="/ppt/tags/tag289.xml" ContentType="application/vnd.openxmlformats-officedocument.presentationml.tags+xml"/>
  <Override PartName="/ppt/charts/chart313.xml" ContentType="application/vnd.openxmlformats-officedocument.drawingml.chart+xml"/>
  <Override PartName="/ppt/tags/tag290.xml" ContentType="application/vnd.openxmlformats-officedocument.presentationml.tags+xml"/>
  <Override PartName="/ppt/charts/chart314.xml" ContentType="application/vnd.openxmlformats-officedocument.drawingml.chart+xml"/>
  <Override PartName="/ppt/tags/tag291.xml" ContentType="application/vnd.openxmlformats-officedocument.presentationml.tags+xml"/>
  <Override PartName="/ppt/charts/chart315.xml" ContentType="application/vnd.openxmlformats-officedocument.drawingml.chart+xml"/>
  <Override PartName="/ppt/tags/tag292.xml" ContentType="application/vnd.openxmlformats-officedocument.presentationml.tags+xml"/>
  <Override PartName="/ppt/charts/chart316.xml" ContentType="application/vnd.openxmlformats-officedocument.drawingml.chart+xml"/>
  <Override PartName="/ppt/tags/tag293.xml" ContentType="application/vnd.openxmlformats-officedocument.presentationml.tags+xml"/>
  <Override PartName="/ppt/charts/chart317.xml" ContentType="application/vnd.openxmlformats-officedocument.drawingml.chart+xml"/>
  <Override PartName="/ppt/tags/tag294.xml" ContentType="application/vnd.openxmlformats-officedocument.presentationml.tags+xml"/>
  <Override PartName="/ppt/charts/chart318.xml" ContentType="application/vnd.openxmlformats-officedocument.drawingml.chart+xml"/>
  <Override PartName="/ppt/tags/tag295.xml" ContentType="application/vnd.openxmlformats-officedocument.presentationml.tags+xml"/>
  <Override PartName="/ppt/charts/chart319.xml" ContentType="application/vnd.openxmlformats-officedocument.drawingml.chart+xml"/>
  <Override PartName="/ppt/tags/tag296.xml" ContentType="application/vnd.openxmlformats-officedocument.presentationml.tags+xml"/>
  <Override PartName="/ppt/charts/chart320.xml" ContentType="application/vnd.openxmlformats-officedocument.drawingml.chart+xml"/>
  <Override PartName="/ppt/tags/tag297.xml" ContentType="application/vnd.openxmlformats-officedocument.presentationml.tags+xml"/>
  <Override PartName="/ppt/notesSlides/notesSlide115.xml" ContentType="application/vnd.openxmlformats-officedocument.presentationml.notesSlide+xml"/>
  <Override PartName="/ppt/charts/chart321.xml" ContentType="application/vnd.openxmlformats-officedocument.drawingml.chart+xml"/>
  <Override PartName="/ppt/charts/style109.xml" ContentType="application/vnd.ms-office.chartstyle+xml"/>
  <Override PartName="/ppt/charts/colors109.xml" ContentType="application/vnd.ms-office.chartcolorstyle+xml"/>
  <Override PartName="/ppt/tags/tag298.xml" ContentType="application/vnd.openxmlformats-officedocument.presentationml.tags+xml"/>
  <Override PartName="/ppt/notesSlides/notesSlide116.xml" ContentType="application/vnd.openxmlformats-officedocument.presentationml.notesSlide+xml"/>
  <Override PartName="/ppt/charts/chart322.xml" ContentType="application/vnd.openxmlformats-officedocument.drawingml.chart+xml"/>
  <Override PartName="/ppt/charts/style110.xml" ContentType="application/vnd.ms-office.chartstyle+xml"/>
  <Override PartName="/ppt/charts/colors110.xml" ContentType="application/vnd.ms-office.chartcolorstyle+xml"/>
  <Override PartName="/ppt/tags/tag299.xml" ContentType="application/vnd.openxmlformats-officedocument.presentationml.tags+xml"/>
  <Override PartName="/ppt/notesSlides/notesSlide117.xml" ContentType="application/vnd.openxmlformats-officedocument.presentationml.notesSlide+xml"/>
  <Override PartName="/ppt/charts/chart323.xml" ContentType="application/vnd.openxmlformats-officedocument.drawingml.chart+xml"/>
  <Override PartName="/ppt/charts/style111.xml" ContentType="application/vnd.ms-office.chartstyle+xml"/>
  <Override PartName="/ppt/charts/colors111.xml" ContentType="application/vnd.ms-office.chartcolorstyle+xml"/>
  <Override PartName="/ppt/tags/tag300.xml" ContentType="application/vnd.openxmlformats-officedocument.presentationml.tags+xml"/>
  <Override PartName="/ppt/notesSlides/notesSlide118.xml" ContentType="application/vnd.openxmlformats-officedocument.presentationml.notesSlide+xml"/>
  <Override PartName="/ppt/charts/chart324.xml" ContentType="application/vnd.openxmlformats-officedocument.drawingml.chart+xml"/>
  <Override PartName="/ppt/charts/style112.xml" ContentType="application/vnd.ms-office.chartstyle+xml"/>
  <Override PartName="/ppt/charts/colors112.xml" ContentType="application/vnd.ms-office.chartcolorstyle+xml"/>
  <Override PartName="/ppt/tags/tag301.xml" ContentType="application/vnd.openxmlformats-officedocument.presentationml.tags+xml"/>
  <Override PartName="/ppt/notesSlides/notesSlide119.xml" ContentType="application/vnd.openxmlformats-officedocument.presentationml.notesSlide+xml"/>
  <Override PartName="/ppt/charts/chart325.xml" ContentType="application/vnd.openxmlformats-officedocument.drawingml.chart+xml"/>
  <Override PartName="/ppt/charts/style113.xml" ContentType="application/vnd.ms-office.chartstyle+xml"/>
  <Override PartName="/ppt/charts/colors113.xml" ContentType="application/vnd.ms-office.chartcolorstyle+xml"/>
  <Override PartName="/ppt/tags/tag302.xml" ContentType="application/vnd.openxmlformats-officedocument.presentationml.tags+xml"/>
  <Override PartName="/ppt/notesSlides/notesSlide120.xml" ContentType="application/vnd.openxmlformats-officedocument.presentationml.notesSlide+xml"/>
  <Override PartName="/ppt/charts/chart326.xml" ContentType="application/vnd.openxmlformats-officedocument.drawingml.chart+xml"/>
  <Override PartName="/ppt/charts/style114.xml" ContentType="application/vnd.ms-office.chartstyle+xml"/>
  <Override PartName="/ppt/charts/colors11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80"/>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 id="2147475449" r:id="rId260"/>
    <p:sldId id="2147475450" r:id="rId261"/>
    <p:sldId id="2147475451" r:id="rId262"/>
    <p:sldId id="2147475452" r:id="rId263"/>
    <p:sldId id="2147475453" r:id="rId264"/>
    <p:sldId id="2147475454" r:id="rId265"/>
    <p:sldId id="2147475455" r:id="rId266"/>
    <p:sldId id="2147475456" r:id="rId267"/>
    <p:sldId id="2147475457" r:id="rId268"/>
    <p:sldId id="2147475458" r:id="rId269"/>
    <p:sldId id="2147475459" r:id="rId270"/>
    <p:sldId id="2147475460" r:id="rId271"/>
    <p:sldId id="2147475461" r:id="rId272"/>
    <p:sldId id="2147475462" r:id="rId273"/>
    <p:sldId id="2147475463" r:id="rId274"/>
    <p:sldId id="2147475464" r:id="rId275"/>
    <p:sldId id="2147475465" r:id="rId276"/>
    <p:sldId id="2147475466" r:id="rId277"/>
    <p:sldId id="2147475467" r:id="rId278"/>
    <p:sldId id="2147475468" r:id="rId27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5612CC03-CF3E-4368-B5BB-45EEA7441B97}">
          <p14:sldIdLst>
            <p14:sldId id="2147475194"/>
            <p14:sldId id="2147475195"/>
          </p14:sldIdLst>
        </p14:section>
        <p14:section name="Promo Evolution Sector" id="{F8FA4009-0605-498B-83BF-B025A2F2FC6F}">
          <p14:sldIdLst>
            <p14:sldId id="2147475196"/>
            <p14:sldId id="2147475197"/>
            <p14:sldId id="2147475198"/>
            <p14:sldId id="2147475199"/>
          </p14:sldIdLst>
        </p14:section>
        <p14:section name="Promo Evolution Segment" id="{F7A24CEC-99BA-4A57-A9BF-32012207BC89}">
          <p14:sldIdLst>
            <p14:sldId id="2147475200"/>
            <p14:sldId id="2147475201"/>
            <p14:sldId id="2147475202"/>
            <p14:sldId id="2147475203"/>
            <p14:sldId id="2147475204"/>
            <p14:sldId id="2147475205"/>
          </p14:sldIdLst>
        </p14:section>
        <p14:section name="VSOD Summary by Sector Sector" id="{DA04FFF0-3647-4441-B995-0BFAF4550885}">
          <p14:sldIdLst>
            <p14:sldId id="2147475206"/>
            <p14:sldId id="2147475207"/>
          </p14:sldIdLst>
        </p14:section>
        <p14:section name="VSOD Summary by Sector Segment" id="{7D7818D2-F7E8-4E73-BA64-D11B6D376146}">
          <p14:sldIdLst>
            <p14:sldId id="2147475208"/>
            <p14:sldId id="2147475209"/>
          </p14:sldIdLst>
        </p14:section>
        <p14:section name="Value uplift by retailer by brand Category" id="{85B7CA48-4317-48C0-8765-972DECE62F3A}">
          <p14:sldIdLst>
            <p14:sldId id="2147475210"/>
          </p14:sldIdLst>
        </p14:section>
        <p14:section name="Value uplift by retailer by brand Sector" id="{2F64294E-BC09-4016-9FDB-C6F76758F273}">
          <p14:sldIdLst>
            <p14:sldId id="2147475211"/>
            <p14:sldId id="2147475212"/>
          </p14:sldIdLst>
        </p14:section>
        <p14:section name="Value uplift by retailer by brand Segment" id="{6B3E0AFC-07EF-46BA-ADB4-6CB53ADD41DD}">
          <p14:sldIdLst>
            <p14:sldId id="2147475213"/>
            <p14:sldId id="2147475214"/>
            <p14:sldId id="2147475215"/>
          </p14:sldIdLst>
        </p14:section>
        <p14:section name="Volume Uplift vs discount depth Category" id="{5AA759ED-C80D-4A4C-85CF-1D20B33A2FDA}">
          <p14:sldIdLst>
            <p14:sldId id="2147475216"/>
            <p14:sldId id="2147475217"/>
          </p14:sldIdLst>
        </p14:section>
        <p14:section name="Volume Uplift vs discount depth Sector" id="{8DA8A125-3056-47A2-9F22-42E5EEFEE6BD}">
          <p14:sldIdLst>
            <p14:sldId id="2147475218"/>
            <p14:sldId id="2147475219"/>
            <p14:sldId id="2147475220"/>
            <p14:sldId id="2147475221"/>
          </p14:sldIdLst>
        </p14:section>
        <p14:section name="Volume Uplift vs discount depth Segment" id="{4E7FBE73-5A83-4FB4-B5E7-54B8FB8FDA48}">
          <p14:sldIdLst>
            <p14:sldId id="2147475222"/>
            <p14:sldId id="2147475223"/>
            <p14:sldId id="2147475224"/>
            <p14:sldId id="2147475225"/>
            <p14:sldId id="2147475226"/>
            <p14:sldId id="2147475227"/>
          </p14:sldIdLst>
        </p14:section>
        <p14:section name="Value Uplift vs Promo Efficiency Quadrant Category" id="{69EAD527-A4CA-427C-A4FF-8CF44CDBCD21}">
          <p14:sldIdLst>
            <p14:sldId id="2147475228"/>
            <p14:sldId id="2147475229"/>
          </p14:sldIdLst>
        </p14:section>
        <p14:section name="Value Uplift vs Promo Efficiency Quadrant Sector" id="{61CAD951-69E2-42ED-B4D0-503F54A8F819}">
          <p14:sldIdLst>
            <p14:sldId id="2147475230"/>
            <p14:sldId id="2147475231"/>
            <p14:sldId id="2147475232"/>
            <p14:sldId id="2147475233"/>
          </p14:sldIdLst>
        </p14:section>
        <p14:section name="Value Uplift vs Promo Efficiency Quadrant Segment" id="{456053AD-3C0E-44FD-9038-291299DAB201}">
          <p14:sldIdLst>
            <p14:sldId id="2147475234"/>
            <p14:sldId id="2147475235"/>
            <p14:sldId id="2147475236"/>
            <p14:sldId id="2147475237"/>
            <p14:sldId id="2147475238"/>
            <p14:sldId id="2147475239"/>
          </p14:sldIdLst>
        </p14:section>
        <p14:section name="Top 20 promotions Category" id="{76BCD128-DD0F-48F5-8CBA-FBCFAD379BAD}">
          <p14:sldIdLst>
            <p14:sldId id="2147475240"/>
            <p14:sldId id="2147475241"/>
          </p14:sldIdLst>
        </p14:section>
        <p14:section name="Top 20 promotions Sector" id="{CD56F809-A8A5-491D-A5E7-DA0EF3DE5CAE}">
          <p14:sldIdLst>
            <p14:sldId id="2147475242"/>
            <p14:sldId id="2147475243"/>
            <p14:sldId id="2147475244"/>
            <p14:sldId id="2147475245"/>
          </p14:sldIdLst>
        </p14:section>
        <p14:section name="Top 20 promotions Segment" id="{D5DD4E6B-18B3-4AF0-85A3-94564B9D3AB0}">
          <p14:sldIdLst>
            <p14:sldId id="2147475246"/>
            <p14:sldId id="2147475247"/>
            <p14:sldId id="2147475248"/>
            <p14:sldId id="2147475249"/>
            <p14:sldId id="2147475250"/>
            <p14:sldId id="2147475251"/>
          </p14:sldIdLst>
        </p14:section>
        <p14:section name="Top 20 promotions CLIENT ONLY Category" id="{D015AB74-9AE8-4406-9638-7A6ECD0EB110}">
          <p14:sldIdLst>
            <p14:sldId id="2147475252"/>
            <p14:sldId id="2147475253"/>
          </p14:sldIdLst>
        </p14:section>
        <p14:section name="Top 20 promotions CLIENT ONLY Sector" id="{51F756C7-4AE3-43C9-956F-B8F139286FF0}">
          <p14:sldIdLst>
            <p14:sldId id="2147475254"/>
            <p14:sldId id="2147475255"/>
            <p14:sldId id="2147475256"/>
            <p14:sldId id="2147475257"/>
          </p14:sldIdLst>
        </p14:section>
        <p14:section name="Top 20 promotions CLIENT ONLY Segment" id="{C24633F8-F739-4C68-AFDD-9FCF7F6595BD}">
          <p14:sldIdLst>
            <p14:sldId id="2147475258"/>
            <p14:sldId id="2147475259"/>
            <p14:sldId id="2147475260"/>
            <p14:sldId id="2147475261"/>
            <p14:sldId id="2147475262"/>
          </p14:sldIdLst>
        </p14:section>
        <p14:section name="Bottom 20 promotions CLIENT ONLY Category" id="{7F7F9433-914A-4EE9-859B-5DE16D83D66B}">
          <p14:sldIdLst>
            <p14:sldId id="2147475263"/>
            <p14:sldId id="2147475264"/>
          </p14:sldIdLst>
        </p14:section>
        <p14:section name="Bottom 20 promotions CLIENT ONLY Sector" id="{D0891D44-FF0F-4310-965A-AC379A01532D}">
          <p14:sldIdLst>
            <p14:sldId id="2147475265"/>
            <p14:sldId id="2147475266"/>
            <p14:sldId id="2147475267"/>
            <p14:sldId id="2147475268"/>
          </p14:sldIdLst>
        </p14:section>
        <p14:section name="Bottom 20 promotions CLIENT ONLY Segment" id="{5AC6A123-2D2E-4BD8-89DA-2CD929202E87}">
          <p14:sldIdLst>
            <p14:sldId id="2147475269"/>
            <p14:sldId id="2147475270"/>
            <p14:sldId id="2147475271"/>
            <p14:sldId id="2147475272"/>
            <p14:sldId id="2147475273"/>
          </p14:sldIdLst>
        </p14:section>
        <p14:section name="Volume Sold on Deal Sector" id="{D00102AE-9E03-4F89-A2A0-CECCB1BCD85E}">
          <p14:sldIdLst>
            <p14:sldId id="2147475274"/>
            <p14:sldId id="2147475275"/>
            <p14:sldId id="2147475276"/>
            <p14:sldId id="2147475277"/>
            <p14:sldId id="2147475278"/>
            <p14:sldId id="2147475279"/>
            <p14:sldId id="2147475280"/>
          </p14:sldIdLst>
        </p14:section>
        <p14:section name="Volume Sold on Deal Segment" id="{E5F814CF-4001-4698-89A2-3813E78786AC}">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Lst>
        </p14:section>
        <p14:section name="Promo share vs Value Share Category" id="{5593475A-B5F0-43E5-B88D-B174403297EC}">
          <p14:sldIdLst>
            <p14:sldId id="2147475295"/>
            <p14:sldId id="2147475296"/>
          </p14:sldIdLst>
        </p14:section>
        <p14:section name="Promo share vs Value Share Sector" id="{E02840E1-B160-4C78-A5A0-DBFBFA5DA6E7}">
          <p14:sldIdLst>
            <p14:sldId id="2147475297"/>
            <p14:sldId id="2147475298"/>
            <p14:sldId id="2147475299"/>
            <p14:sldId id="2147475300"/>
          </p14:sldIdLst>
        </p14:section>
        <p14:section name="Promo share vs Value Share Segment" id="{53CF8B5C-B8B7-4D98-A980-DD2C8D6966F6}">
          <p14:sldIdLst>
            <p14:sldId id="2147475301"/>
            <p14:sldId id="2147475302"/>
            <p14:sldId id="2147475303"/>
            <p14:sldId id="2147475304"/>
            <p14:sldId id="2147475305"/>
            <p14:sldId id="2147475306"/>
          </p14:sldIdLst>
        </p14:section>
        <p14:section name="Promo Sales by total size Category" id="{72CB6537-0601-4497-B906-3A192443C63F}">
          <p14:sldIdLst>
            <p14:sldId id="2147475307"/>
          </p14:sldIdLst>
        </p14:section>
        <p14:section name="Promo Sales by total size Sector" id="{A11E9565-036E-44BA-9FBC-2E5132CDD8EE}">
          <p14:sldIdLst>
            <p14:sldId id="2147475308"/>
            <p14:sldId id="2147475309"/>
          </p14:sldIdLst>
        </p14:section>
        <p14:section name="Promo Sales by total size Segment" id="{B90DABFC-2F93-402B-B662-1E9D59EA2AD8}">
          <p14:sldIdLst>
            <p14:sldId id="2147475310"/>
            <p14:sldId id="2147475311"/>
            <p14:sldId id="2147475312"/>
          </p14:sldIdLst>
        </p14:section>
        <p14:section name="Promo Sales by promo type Category" id="{0A94030E-27C9-4C52-9650-A0AAEA13D6E7}">
          <p14:sldIdLst>
            <p14:sldId id="2147475313"/>
            <p14:sldId id="2147475314"/>
          </p14:sldIdLst>
        </p14:section>
        <p14:section name="Promo Sales by promo type Sector" id="{92EE16FE-9E72-457E-B0DD-AEF60DCA9559}">
          <p14:sldIdLst>
            <p14:sldId id="2147475315"/>
            <p14:sldId id="2147475316"/>
            <p14:sldId id="2147475317"/>
            <p14:sldId id="2147475318"/>
          </p14:sldIdLst>
        </p14:section>
        <p14:section name="Promo Sales by promo type Segment" id="{C57410EF-AA64-4B33-A141-ED59E8E295E0}">
          <p14:sldIdLst>
            <p14:sldId id="2147475319"/>
            <p14:sldId id="2147475320"/>
            <p14:sldId id="2147475321"/>
            <p14:sldId id="2147475322"/>
            <p14:sldId id="2147475323"/>
          </p14:sldIdLst>
        </p14:section>
        <p14:section name="Promo Frequency learnings Category" id="{18CBCDD1-70F9-43D8-8F9E-19893226BD70}">
          <p14:sldIdLst>
            <p14:sldId id="2147475324"/>
            <p14:sldId id="2147475325"/>
            <p14:sldId id="2147475326"/>
            <p14:sldId id="2147475327"/>
            <p14:sldId id="2147475328"/>
            <p14:sldId id="2147475329"/>
            <p14:sldId id="2147475330"/>
          </p14:sldIdLst>
        </p14:section>
        <p14:section name="Promo Frequency learnings Sector" id="{DDC6B037-A0A5-47A7-BE17-B0ECE5413D72}">
          <p14:sldIdLst>
            <p14:sldId id="2147475331"/>
            <p14:sldId id="2147475332"/>
            <p14:sldId id="2147475333"/>
            <p14:sldId id="2147475334"/>
            <p14:sldId id="2147475335"/>
            <p14:sldId id="2147475336"/>
            <p14:sldId id="2147475337"/>
            <p14:sldId id="2147475338"/>
            <p14:sldId id="2147475339"/>
            <p14:sldId id="2147475340"/>
            <p14:sldId id="2147475341"/>
          </p14:sldIdLst>
        </p14:section>
        <p14:section name="Promo Frequency learnings Segment" id="{CFDF0D4C-627C-4908-9905-B1912B073BC1}">
          <p14:sldIdLst>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Promo sales per retailer Category" id="{B8895F4E-0613-400B-BF0A-733993342EED}">
          <p14:sldIdLst>
            <p14:sldId id="2147475357"/>
            <p14:sldId id="2147475358"/>
            <p14:sldId id="2147475359"/>
            <p14:sldId id="2147475360"/>
          </p14:sldIdLst>
        </p14:section>
        <p14:section name="Promo sales per retailer Sector" id="{ADF359E5-2688-4121-82D3-5D3CF70744BD}">
          <p14:sldIdLst>
            <p14:sldId id="2147475361"/>
            <p14:sldId id="2147475362"/>
            <p14:sldId id="2147475363"/>
            <p14:sldId id="2147475364"/>
            <p14:sldId id="2147475365"/>
            <p14:sldId id="2147475366"/>
            <p14:sldId id="2147475367"/>
          </p14:sldIdLst>
        </p14:section>
        <p14:section name="Promo sales per retailer Segment" id="{217E4FC6-21FA-457B-A428-2D12A8C3A78E}">
          <p14:sldIdLst>
            <p14:sldId id="2147475368"/>
            <p14:sldId id="2147475369"/>
            <p14:sldId id="2147475370"/>
            <p14:sldId id="2147475371"/>
            <p14:sldId id="2147475372"/>
            <p14:sldId id="2147475373"/>
            <p14:sldId id="2147475374"/>
            <p14:sldId id="2147475375"/>
            <p14:sldId id="2147475376"/>
            <p14:sldId id="2147475377"/>
            <p14:sldId id="2147475378"/>
          </p14:sldIdLst>
        </p14:section>
        <p14:section name="Promo sales per retailer SubSegment" id="{E3C6CEE9-E5DE-4C85-AAE8-EE816FBC981D}">
          <p14:sldIdLst/>
        </p14:section>
        <p14:section name="Value Uplift vs discount depth Category" id="{BEE2C526-0319-4E28-8000-38E0E501A837}">
          <p14:sldIdLst>
            <p14:sldId id="2147475379"/>
            <p14:sldId id="2147475380"/>
            <p14:sldId id="2147475381"/>
            <p14:sldId id="2147475382"/>
            <p14:sldId id="2147475383"/>
          </p14:sldIdLst>
        </p14:section>
        <p14:section name="Value Uplift vs discount depth Sector" id="{886840CF-D974-4BC0-B4ED-3E2D96FD83B3}">
          <p14:sldIdLst>
            <p14:sldId id="2147475384"/>
            <p14:sldId id="2147475385"/>
            <p14:sldId id="2147475386"/>
            <p14:sldId id="2147475387"/>
            <p14:sldId id="2147475388"/>
            <p14:sldId id="2147475389"/>
            <p14:sldId id="2147475390"/>
          </p14:sldIdLst>
        </p14:section>
        <p14:section name="Value Uplift vs discount depth Segment" id="{434C5D31-4E7B-46C5-88A2-047D08BD3B13}">
          <p14:sldIdLst>
            <p14:sldId id="2147475391"/>
            <p14:sldId id="2147475392"/>
            <p14:sldId id="2147475393"/>
            <p14:sldId id="2147475394"/>
            <p14:sldId id="2147475395"/>
            <p14:sldId id="2147475396"/>
            <p14:sldId id="2147475397"/>
            <p14:sldId id="2147475398"/>
            <p14:sldId id="2147475399"/>
            <p14:sldId id="2147475400"/>
          </p14:sldIdLst>
        </p14:section>
        <p14:section name="Seasonality Index Category" id="{6FDF7BEC-21C4-4DEB-BFED-C02CDC3CBE0A}">
          <p14:sldIdLst>
            <p14:sldId id="2147475401"/>
            <p14:sldId id="2147475402"/>
          </p14:sldIdLst>
        </p14:section>
        <p14:section name="Seasonality Index Sector" id="{A68484A6-3B36-473F-860B-640B861D6E67}">
          <p14:sldIdLst>
            <p14:sldId id="2147475403"/>
            <p14:sldId id="2147475404"/>
          </p14:sldIdLst>
        </p14:section>
        <p14:section name="Seasonality Index Segment" id="{3311A26B-C740-4527-9E56-E8C9A78EAC7C}">
          <p14:sldIdLst>
            <p14:sldId id="2147475405"/>
            <p14:sldId id="2147475406"/>
            <p14:sldId id="2147475407"/>
            <p14:sldId id="2147475408"/>
          </p14:sldIdLst>
        </p14:section>
        <p14:section name="Seasonality Index Subsegment" id="{776B4899-390A-406A-A793-1B502C0D81DA}">
          <p14:sldIdLst/>
        </p14:section>
        <p14:section name="Promotional Frequency Analysis Category" id="{DE9E3214-3C2F-4FA4-B389-8D92374AC714}">
          <p14:sldIdLst>
            <p14:sldId id="2147475409"/>
            <p14:sldId id="2147475410"/>
            <p14:sldId id="2147475411"/>
          </p14:sldIdLst>
        </p14:section>
        <p14:section name="Promotional Frequency Analysis Sector" id="{C09AE3C5-8381-4B1B-99B6-356F078CB0A1}">
          <p14:sldIdLst>
            <p14:sldId id="2147475412"/>
            <p14:sldId id="2147475413"/>
            <p14:sldId id="2147475414"/>
            <p14:sldId id="2147475415"/>
            <p14:sldId id="2147475416"/>
            <p14:sldId id="2147475417"/>
            <p14:sldId id="2147475418"/>
          </p14:sldIdLst>
        </p14:section>
        <p14:section name="Promotional Frequency Analysis Segment" id="{0C310539-E140-46E7-9BCD-33C3E3FC1DD3}">
          <p14:sldIdLst>
            <p14:sldId id="2147475419"/>
            <p14:sldId id="2147475420"/>
            <p14:sldId id="2147475421"/>
            <p14:sldId id="2147475422"/>
            <p14:sldId id="2147475423"/>
            <p14:sldId id="2147475424"/>
            <p14:sldId id="2147475425"/>
            <p14:sldId id="2147475426"/>
            <p14:sldId id="2147475427"/>
            <p14:sldId id="2147475428"/>
          </p14:sldIdLst>
        </p14:section>
        <p14:section name="Promotional Frequency Analysis Subsegment" id="{33228A14-1979-450F-BD98-D061E10A90AB}">
          <p14:sldIdLst/>
        </p14:section>
        <p14:section name="Promo Evolution no client prio Category" id="{37BD695D-30B3-464F-8721-B39974FFFBA5}">
          <p14:sldIdLst>
            <p14:sldId id="2147475429"/>
            <p14:sldId id="2147475430"/>
          </p14:sldIdLst>
        </p14:section>
        <p14:section name="Promo Evolution no client prio Sector" id="{42F004C1-904D-47ED-B997-59EAF15947B2}">
          <p14:sldIdLst>
            <p14:sldId id="2147475431"/>
            <p14:sldId id="2147475432"/>
            <p14:sldId id="2147475433"/>
            <p14:sldId id="2147475434"/>
          </p14:sldIdLst>
        </p14:section>
        <p14:section name="Promo Evolution no client prio Segment" id="{6A2CB03E-C828-4032-89CA-C0832B3CD965}">
          <p14:sldIdLst>
            <p14:sldId id="2147475435"/>
            <p14:sldId id="2147475436"/>
            <p14:sldId id="2147475437"/>
            <p14:sldId id="2147475438"/>
            <p14:sldId id="2147475439"/>
            <p14:sldId id="2147475440"/>
          </p14:sldIdLst>
        </p14:section>
        <p14:section name="VSOD Summary by Sector no client prio Sector" id="{AB48B282-06AC-49C1-8146-3BF30E8B9001}">
          <p14:sldIdLst>
            <p14:sldId id="2147475441"/>
            <p14:sldId id="2147475442"/>
          </p14:sldIdLst>
        </p14:section>
        <p14:section name="VSOD Summary by Sector no client prio Segment" id="{42EA3F12-2B58-44C4-AD48-580DDA26826E}">
          <p14:sldIdLst>
            <p14:sldId id="2147475443"/>
            <p14:sldId id="2147475444"/>
          </p14:sldIdLst>
        </p14:section>
        <p14:section name="Value uplift by retailer by brand no client prio Category" id="{A3F55B46-B940-483E-B5B3-E560BC919303}">
          <p14:sldIdLst>
            <p14:sldId id="2147475445"/>
          </p14:sldIdLst>
        </p14:section>
        <p14:section name="Value uplift by retailer by brand no client prio Sector" id="{A354D095-E4C2-4B67-B0BA-8D6CED27BA92}">
          <p14:sldIdLst>
            <p14:sldId id="2147475446"/>
            <p14:sldId id="2147475447"/>
          </p14:sldIdLst>
        </p14:section>
        <p14:section name="Value uplift by retailer by brand no client prio Segment" id="{E9B4BF87-64B0-4136-A81E-E94C97039743}">
          <p14:sldIdLst>
            <p14:sldId id="2147475448"/>
            <p14:sldId id="2147475449"/>
            <p14:sldId id="2147475450"/>
          </p14:sldIdLst>
        </p14:section>
        <p14:section name="Promo share vs Value Share no client prio Category" id="{C92CD87F-76CA-40D0-93B8-15C91E006ACB}">
          <p14:sldIdLst>
            <p14:sldId id="2147475451"/>
            <p14:sldId id="2147475452"/>
          </p14:sldIdLst>
        </p14:section>
        <p14:section name="Promo share vs Value Share no client prio Sector" id="{BD9E4209-F46A-42DE-8A07-276D2404F1E6}">
          <p14:sldIdLst>
            <p14:sldId id="2147475453"/>
            <p14:sldId id="2147475454"/>
            <p14:sldId id="2147475455"/>
            <p14:sldId id="2147475456"/>
          </p14:sldIdLst>
        </p14:section>
        <p14:section name="Promo share vs Value Share no client prio Segment" id="{13F15454-948E-4940-9EF6-1FA4C02BF509}">
          <p14:sldIdLst>
            <p14:sldId id="2147475457"/>
            <p14:sldId id="2147475458"/>
            <p14:sldId id="2147475459"/>
            <p14:sldId id="2147475460"/>
            <p14:sldId id="2147475461"/>
            <p14:sldId id="2147475462"/>
          </p14:sldIdLst>
        </p14:section>
        <p14:section name="Promo Sales by total size no client prio Category" id="{E5C20A1C-53A6-40E3-8416-F9A7E3FC07DB}">
          <p14:sldIdLst>
            <p14:sldId id="2147475463"/>
          </p14:sldIdLst>
        </p14:section>
        <p14:section name="Promo Sales by total size no client prio Sector" id="{453BFE9C-30B2-485F-8741-C816464A9731}">
          <p14:sldIdLst>
            <p14:sldId id="2147475464"/>
            <p14:sldId id="2147475465"/>
          </p14:sldIdLst>
        </p14:section>
        <p14:section name="Promo Sales by total size no client prio Segment" id="{7EFE765C-899F-40D7-8824-59980D41DC3E}">
          <p14:sldIdLst>
            <p14:sldId id="2147475466"/>
            <p14:sldId id="2147475467"/>
            <p14:sldId id="214747546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85" d="100"/>
          <a:sy n="85" d="100"/>
        </p:scale>
        <p:origin x="990" y="84"/>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269" Type="http://schemas.openxmlformats.org/officeDocument/2006/relationships/slide" Target="slides/slide265.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280" Type="http://schemas.openxmlformats.org/officeDocument/2006/relationships/notesMaster" Target="notesMasters/notesMaster1.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presProps" Target="presProp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viewProps" Target="viewProps.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theme" Target="theme/theme1.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tableStyles" Target="tableStyles.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microsoft.com/office/2015/10/relationships/revisionInfo" Target="revisionInfo.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microsoft.com/office/2018/10/relationships/authors" Target="authors.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20.xml"/><Relationship Id="rId1" Type="http://schemas.microsoft.com/office/2011/relationships/chartStyle" Target="style2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21.xml"/><Relationship Id="rId1" Type="http://schemas.microsoft.com/office/2011/relationships/chartStyle" Target="style2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22.xml"/><Relationship Id="rId1" Type="http://schemas.microsoft.com/office/2011/relationships/chartStyle" Target="style2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23.xml"/><Relationship Id="rId1" Type="http://schemas.microsoft.com/office/2011/relationships/chartStyle" Target="style2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24.xml"/><Relationship Id="rId1" Type="http://schemas.microsoft.com/office/2011/relationships/chartStyle" Target="style2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25.xml"/><Relationship Id="rId1" Type="http://schemas.microsoft.com/office/2011/relationships/chartStyle" Target="style2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26.xml"/><Relationship Id="rId1" Type="http://schemas.microsoft.com/office/2011/relationships/chartStyle" Target="style2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27.xml"/><Relationship Id="rId1" Type="http://schemas.microsoft.com/office/2011/relationships/chartStyle" Target="style2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28.xml"/><Relationship Id="rId1" Type="http://schemas.microsoft.com/office/2011/relationships/chartStyle" Target="style2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29.xml"/><Relationship Id="rId1" Type="http://schemas.microsoft.com/office/2011/relationships/chartStyle" Target="style29.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30.xml"/><Relationship Id="rId1" Type="http://schemas.microsoft.com/office/2011/relationships/chartStyle" Target="style3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31.xml"/><Relationship Id="rId1" Type="http://schemas.microsoft.com/office/2011/relationships/chartStyle" Target="style3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2.xml"/><Relationship Id="rId1" Type="http://schemas.microsoft.com/office/2011/relationships/chartStyle" Target="style3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33.xml"/><Relationship Id="rId1" Type="http://schemas.microsoft.com/office/2011/relationships/chartStyle" Target="style3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34.xml"/><Relationship Id="rId1" Type="http://schemas.microsoft.com/office/2011/relationships/chartStyle" Target="style3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35.xml"/><Relationship Id="rId1" Type="http://schemas.microsoft.com/office/2011/relationships/chartStyle" Target="style35.xml"/></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36.xml"/><Relationship Id="rId1" Type="http://schemas.microsoft.com/office/2011/relationships/chartStyle" Target="style36.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37.xml"/><Relationship Id="rId1" Type="http://schemas.microsoft.com/office/2011/relationships/chartStyle" Target="style37.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38.xml"/><Relationship Id="rId1" Type="http://schemas.microsoft.com/office/2011/relationships/chartStyle" Target="style38.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39.xml"/><Relationship Id="rId1" Type="http://schemas.microsoft.com/office/2011/relationships/chartStyle" Target="style39.xml"/></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40.xml"/><Relationship Id="rId1" Type="http://schemas.microsoft.com/office/2011/relationships/chartStyle" Target="style40.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41.xml"/><Relationship Id="rId1" Type="http://schemas.microsoft.com/office/2011/relationships/chartStyle" Target="style41.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42.xml"/><Relationship Id="rId1" Type="http://schemas.microsoft.com/office/2011/relationships/chartStyle" Target="style42.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43.xml"/><Relationship Id="rId1" Type="http://schemas.microsoft.com/office/2011/relationships/chartStyle" Target="style43.xml"/></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44.xml"/><Relationship Id="rId1" Type="http://schemas.microsoft.com/office/2011/relationships/chartStyle" Target="style44.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45.xml"/><Relationship Id="rId1" Type="http://schemas.microsoft.com/office/2011/relationships/chartStyle" Target="style45.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46.xml"/><Relationship Id="rId1" Type="http://schemas.microsoft.com/office/2011/relationships/chartStyle" Target="style46.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47.xml"/><Relationship Id="rId1" Type="http://schemas.microsoft.com/office/2011/relationships/chartStyle" Target="style47.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48.xml"/><Relationship Id="rId1" Type="http://schemas.microsoft.com/office/2011/relationships/chartStyle" Target="style48.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49.xml"/><Relationship Id="rId1" Type="http://schemas.microsoft.com/office/2011/relationships/chartStyle" Target="style49.xml"/></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50.xml"/><Relationship Id="rId1" Type="http://schemas.microsoft.com/office/2011/relationships/chartStyle" Target="style50.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51.xml"/><Relationship Id="rId1" Type="http://schemas.microsoft.com/office/2011/relationships/chartStyle" Target="style51.xml"/></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52.xml"/><Relationship Id="rId1" Type="http://schemas.microsoft.com/office/2011/relationships/chartStyle" Target="style52.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53.xml"/><Relationship Id="rId1" Type="http://schemas.microsoft.com/office/2011/relationships/chartStyle" Target="style53.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54.xml"/><Relationship Id="rId1" Type="http://schemas.microsoft.com/office/2011/relationships/chartStyle" Target="style54.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55.xml"/><Relationship Id="rId1" Type="http://schemas.microsoft.com/office/2011/relationships/chartStyle" Target="style55.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56.xml"/><Relationship Id="rId1" Type="http://schemas.microsoft.com/office/2011/relationships/chartStyle" Target="style56.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57.xml"/><Relationship Id="rId1" Type="http://schemas.microsoft.com/office/2011/relationships/chartStyle" Target="style57.xml"/></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58.xml"/><Relationship Id="rId1" Type="http://schemas.microsoft.com/office/2011/relationships/chartStyle" Target="style58.xml"/></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59.xml"/><Relationship Id="rId1" Type="http://schemas.microsoft.com/office/2011/relationships/chartStyle" Target="style59.xml"/></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60.xml"/><Relationship Id="rId1" Type="http://schemas.microsoft.com/office/2011/relationships/chartStyle" Target="style60.xml"/></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61.xml"/><Relationship Id="rId1" Type="http://schemas.microsoft.com/office/2011/relationships/chartStyle" Target="style61.xml"/></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62.xml"/><Relationship Id="rId1" Type="http://schemas.microsoft.com/office/2011/relationships/chartStyle" Target="style62.xml"/></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63.xml"/><Relationship Id="rId1" Type="http://schemas.microsoft.com/office/2011/relationships/chartStyle" Target="style63.xml"/></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64.xml"/><Relationship Id="rId1" Type="http://schemas.microsoft.com/office/2011/relationships/chartStyle" Target="style64.xml"/></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65.xml"/><Relationship Id="rId1" Type="http://schemas.microsoft.com/office/2011/relationships/chartStyle" Target="style65.xml"/></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66.xml"/><Relationship Id="rId1" Type="http://schemas.microsoft.com/office/2011/relationships/chartStyle" Target="style66.xml"/></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67.xml"/><Relationship Id="rId1" Type="http://schemas.microsoft.com/office/2011/relationships/chartStyle" Target="style67.xml"/></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68.xml"/><Relationship Id="rId1" Type="http://schemas.microsoft.com/office/2011/relationships/chartStyle" Target="style68.xml"/></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69.xml"/><Relationship Id="rId1" Type="http://schemas.microsoft.com/office/2011/relationships/chartStyle" Target="style69.xml"/></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70.xml"/><Relationship Id="rId1" Type="http://schemas.microsoft.com/office/2011/relationships/chartStyle" Target="style70.xml"/></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71.xml"/><Relationship Id="rId1" Type="http://schemas.microsoft.com/office/2011/relationships/chartStyle" Target="style71.xml"/></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72.xml"/><Relationship Id="rId1" Type="http://schemas.microsoft.com/office/2011/relationships/chartStyle" Target="style72.xml"/></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73.xml"/><Relationship Id="rId1" Type="http://schemas.microsoft.com/office/2011/relationships/chartStyle" Target="style73.xml"/></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74.xml"/><Relationship Id="rId1" Type="http://schemas.microsoft.com/office/2011/relationships/chartStyle" Target="style74.xml"/></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75.xml"/><Relationship Id="rId1" Type="http://schemas.microsoft.com/office/2011/relationships/chartStyle" Target="style75.xml"/></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76.xml"/><Relationship Id="rId1" Type="http://schemas.microsoft.com/office/2011/relationships/chartStyle" Target="style76.xml"/></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77.xml"/><Relationship Id="rId1" Type="http://schemas.microsoft.com/office/2011/relationships/chartStyle" Target="style77.xml"/></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78.xml"/><Relationship Id="rId1" Type="http://schemas.microsoft.com/office/2011/relationships/chartStyle" Target="style78.xml"/></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79.xml"/><Relationship Id="rId1" Type="http://schemas.microsoft.com/office/2011/relationships/chartStyle" Target="style79.xml"/></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80.xml"/><Relationship Id="rId1" Type="http://schemas.microsoft.com/office/2011/relationships/chartStyle" Target="style80.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81.xml"/><Relationship Id="rId1" Type="http://schemas.microsoft.com/office/2011/relationships/chartStyle" Target="style8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82.xml"/><Relationship Id="rId1" Type="http://schemas.microsoft.com/office/2011/relationships/chartStyle" Target="style82.xml"/></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83.xml"/><Relationship Id="rId1" Type="http://schemas.microsoft.com/office/2011/relationships/chartStyle" Target="style83.xml"/></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84.xml"/><Relationship Id="rId1" Type="http://schemas.microsoft.com/office/2011/relationships/chartStyle" Target="style84.xml"/></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85.xml"/><Relationship Id="rId1" Type="http://schemas.microsoft.com/office/2011/relationships/chartStyle" Target="style85.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86.xml"/><Relationship Id="rId1" Type="http://schemas.microsoft.com/office/2011/relationships/chartStyle" Target="style86.xml"/></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87.xml"/><Relationship Id="rId1" Type="http://schemas.microsoft.com/office/2011/relationships/chartStyle" Target="style8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88.xml"/><Relationship Id="rId1" Type="http://schemas.microsoft.com/office/2011/relationships/chartStyle" Target="style88.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89.xml"/><Relationship Id="rId1" Type="http://schemas.microsoft.com/office/2011/relationships/chartStyle" Target="style89.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90.xml"/><Relationship Id="rId1" Type="http://schemas.microsoft.com/office/2011/relationships/chartStyle" Target="style90.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91.xml"/><Relationship Id="rId1" Type="http://schemas.microsoft.com/office/2011/relationships/chartStyle" Target="style91.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92.xml"/><Relationship Id="rId1" Type="http://schemas.microsoft.com/office/2011/relationships/chartStyle" Target="style92.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93.xml"/><Relationship Id="rId1" Type="http://schemas.microsoft.com/office/2011/relationships/chartStyle" Target="style93.xml"/></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94.xml"/><Relationship Id="rId1" Type="http://schemas.microsoft.com/office/2011/relationships/chartStyle" Target="style94.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95.xml"/><Relationship Id="rId1" Type="http://schemas.microsoft.com/office/2011/relationships/chartStyle" Target="style95.xml"/></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96.xml"/><Relationship Id="rId1" Type="http://schemas.microsoft.com/office/2011/relationships/chartStyle" Target="style96.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97.xml"/><Relationship Id="rId1" Type="http://schemas.microsoft.com/office/2011/relationships/chartStyle" Target="style97.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98.xml"/><Relationship Id="rId1" Type="http://schemas.microsoft.com/office/2011/relationships/chartStyle" Target="style98.xml"/></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99.xml"/><Relationship Id="rId1" Type="http://schemas.microsoft.com/office/2011/relationships/chartStyle" Target="style99.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100.xml"/><Relationship Id="rId1" Type="http://schemas.microsoft.com/office/2011/relationships/chartStyle" Target="style100.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101.xml"/><Relationship Id="rId1" Type="http://schemas.microsoft.com/office/2011/relationships/chartStyle" Target="style101.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102.xml"/><Relationship Id="rId1" Type="http://schemas.microsoft.com/office/2011/relationships/chartStyle" Target="style102.xml"/></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103.xml"/><Relationship Id="rId1" Type="http://schemas.microsoft.com/office/2011/relationships/chartStyle" Target="style103.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104.xml"/><Relationship Id="rId1" Type="http://schemas.microsoft.com/office/2011/relationships/chartStyle" Target="style104.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105.xml"/><Relationship Id="rId1" Type="http://schemas.microsoft.com/office/2011/relationships/chartStyle" Target="style105.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106.xml"/><Relationship Id="rId1" Type="http://schemas.microsoft.com/office/2011/relationships/chartStyle" Target="style106.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107.xml"/><Relationship Id="rId1" Type="http://schemas.microsoft.com/office/2011/relationships/chartStyle" Target="style107.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108.xml"/><Relationship Id="rId1" Type="http://schemas.microsoft.com/office/2011/relationships/chartStyle" Target="style108.xml"/></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3" Type="http://schemas.openxmlformats.org/officeDocument/2006/relationships/package" Target="../embeddings/Microsoft_Excel_Worksheet320.xlsx"/><Relationship Id="rId2" Type="http://schemas.microsoft.com/office/2011/relationships/chartColorStyle" Target="colors109.xml"/><Relationship Id="rId1" Type="http://schemas.microsoft.com/office/2011/relationships/chartStyle" Target="style109.xml"/></Relationships>
</file>

<file path=ppt/charts/_rels/chart322.xml.rels><?xml version="1.0" encoding="UTF-8" standalone="yes"?>
<Relationships xmlns="http://schemas.openxmlformats.org/package/2006/relationships"><Relationship Id="rId3" Type="http://schemas.openxmlformats.org/officeDocument/2006/relationships/package" Target="../embeddings/Microsoft_Excel_Worksheet321.xlsx"/><Relationship Id="rId2" Type="http://schemas.microsoft.com/office/2011/relationships/chartColorStyle" Target="colors110.xml"/><Relationship Id="rId1" Type="http://schemas.microsoft.com/office/2011/relationships/chartStyle" Target="style110.xml"/></Relationships>
</file>

<file path=ppt/charts/_rels/chart323.xml.rels><?xml version="1.0" encoding="UTF-8" standalone="yes"?>
<Relationships xmlns="http://schemas.openxmlformats.org/package/2006/relationships"><Relationship Id="rId3" Type="http://schemas.openxmlformats.org/officeDocument/2006/relationships/package" Target="../embeddings/Microsoft_Excel_Worksheet322.xlsx"/><Relationship Id="rId2" Type="http://schemas.microsoft.com/office/2011/relationships/chartColorStyle" Target="colors111.xml"/><Relationship Id="rId1" Type="http://schemas.microsoft.com/office/2011/relationships/chartStyle" Target="style111.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112.xml"/><Relationship Id="rId1" Type="http://schemas.microsoft.com/office/2011/relationships/chartStyle" Target="style112.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113.xml"/><Relationship Id="rId1" Type="http://schemas.microsoft.com/office/2011/relationships/chartStyle" Target="style113.xml"/></Relationships>
</file>

<file path=ppt/charts/_rels/chart326.xml.rels><?xml version="1.0" encoding="UTF-8" standalone="yes"?>
<Relationships xmlns="http://schemas.openxmlformats.org/package/2006/relationships"><Relationship Id="rId3" Type="http://schemas.openxmlformats.org/officeDocument/2006/relationships/package" Target="../embeddings/Microsoft_Excel_Worksheet325.xlsx"/><Relationship Id="rId2" Type="http://schemas.microsoft.com/office/2011/relationships/chartColorStyle" Target="colors114.xml"/><Relationship Id="rId1" Type="http://schemas.microsoft.com/office/2011/relationships/chartStyle" Target="style11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4.0613590510432109</c:v>
                </c:pt>
                <c:pt idx="1">
                  <c:v>6.7177420213372665</c:v>
                </c:pt>
                <c:pt idx="2">
                  <c:v>1.0934879901515977</c:v>
                </c:pt>
                <c:pt idx="3">
                  <c:v>-0.7943759315237866</c:v>
                </c:pt>
                <c:pt idx="4">
                  <c:v>-0.8522816284738411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B$2:$B$7</c:f>
              <c:numCache>
                <c:formatCode>General</c:formatCode>
                <c:ptCount val="6"/>
                <c:pt idx="0">
                  <c:v>0.4800599895758938</c:v>
                </c:pt>
                <c:pt idx="1">
                  <c:v>0.4936541585792204</c:v>
                </c:pt>
                <c:pt idx="2">
                  <c:v>0.63660508691021123</c:v>
                </c:pt>
                <c:pt idx="3">
                  <c:v>0.76728058932798959</c:v>
                </c:pt>
                <c:pt idx="4">
                  <c:v>0.21534982182334902</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C$2:$C$7</c:f>
              <c:numCache>
                <c:formatCode>General</c:formatCode>
                <c:ptCount val="6"/>
                <c:pt idx="0">
                  <c:v>0.5199400104241062</c:v>
                </c:pt>
                <c:pt idx="1">
                  <c:v>0.50634584142077954</c:v>
                </c:pt>
                <c:pt idx="2">
                  <c:v>0.36339491308978877</c:v>
                </c:pt>
                <c:pt idx="3">
                  <c:v>0.23271941067201041</c:v>
                </c:pt>
                <c:pt idx="4">
                  <c:v>0.78465017817665095</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B$2:$B$7</c:f>
              <c:numCache>
                <c:formatCode>General</c:formatCode>
                <c:ptCount val="6"/>
                <c:pt idx="0">
                  <c:v>0.41235092560402192</c:v>
                </c:pt>
                <c:pt idx="1">
                  <c:v>0.22957398641695823</c:v>
                </c:pt>
                <c:pt idx="2">
                  <c:v>0.42881235493349873</c:v>
                </c:pt>
                <c:pt idx="3">
                  <c:v>0.76754734284444692</c:v>
                </c:pt>
                <c:pt idx="4">
                  <c:v>4.1633451649207863E-2</c:v>
                </c:pt>
                <c:pt idx="5">
                  <c:v>0.8919270151618904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C$2:$C$7</c:f>
              <c:numCache>
                <c:formatCode>General</c:formatCode>
                <c:ptCount val="6"/>
                <c:pt idx="0">
                  <c:v>0.58764907439597813</c:v>
                </c:pt>
                <c:pt idx="1">
                  <c:v>0.77042601358304175</c:v>
                </c:pt>
                <c:pt idx="2">
                  <c:v>0.57118764506650122</c:v>
                </c:pt>
                <c:pt idx="3">
                  <c:v>0.23245265715555308</c:v>
                </c:pt>
                <c:pt idx="4">
                  <c:v>0.95836654835079216</c:v>
                </c:pt>
                <c:pt idx="5">
                  <c:v>0.1080729848381095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B$2:$B$5</c:f>
              <c:numCache>
                <c:formatCode>General</c:formatCode>
                <c:ptCount val="4"/>
                <c:pt idx="0">
                  <c:v>1</c:v>
                </c:pt>
                <c:pt idx="1">
                  <c:v>0.42474603711793024</c:v>
                </c:pt>
                <c:pt idx="2">
                  <c:v>0.61019626426568729</c:v>
                </c:pt>
                <c:pt idx="3">
                  <c:v>0.9998621467092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C$2:$C$5</c:f>
              <c:numCache>
                <c:formatCode>General</c:formatCode>
                <c:ptCount val="4"/>
                <c:pt idx="0">
                  <c:v>0</c:v>
                </c:pt>
                <c:pt idx="1">
                  <c:v>0.57525396288206976</c:v>
                </c:pt>
                <c:pt idx="2">
                  <c:v>0.38980373573431271</c:v>
                </c:pt>
                <c:pt idx="3">
                  <c:v>1.3785329074700314E-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B$2:$B$6</c:f>
              <c:numCache>
                <c:formatCode>General</c:formatCode>
                <c:ptCount val="5"/>
                <c:pt idx="0">
                  <c:v>0.60644332995260775</c:v>
                </c:pt>
                <c:pt idx="1">
                  <c:v>0.27151222724929841</c:v>
                </c:pt>
                <c:pt idx="2">
                  <c:v>2.6621773530429296E-2</c:v>
                </c:pt>
                <c:pt idx="3">
                  <c:v>0.64038562250595621</c:v>
                </c:pt>
                <c:pt idx="4">
                  <c:v>0.7976303556894579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C$2:$C$6</c:f>
              <c:numCache>
                <c:formatCode>General</c:formatCode>
                <c:ptCount val="5"/>
                <c:pt idx="0">
                  <c:v>0.39355667004739225</c:v>
                </c:pt>
                <c:pt idx="1">
                  <c:v>0.72848777275070153</c:v>
                </c:pt>
                <c:pt idx="2">
                  <c:v>0.97337822646957073</c:v>
                </c:pt>
                <c:pt idx="3">
                  <c:v>0.35961437749404379</c:v>
                </c:pt>
                <c:pt idx="4">
                  <c:v>0.202369644310542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1">
                  <c:v>0.87</c:v>
                </c:pt>
                <c:pt idx="4">
                  <c:v>0.43</c:v>
                </c:pt>
                <c:pt idx="6">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1</c:v>
                </c:pt>
                <c:pt idx="1">
                  <c:v>0.13</c:v>
                </c:pt>
                <c:pt idx="2">
                  <c:v>1</c:v>
                </c:pt>
                <c:pt idx="3">
                  <c:v>1</c:v>
                </c:pt>
                <c:pt idx="5">
                  <c:v>1</c:v>
                </c:pt>
                <c:pt idx="6">
                  <c:v>0.79</c:v>
                </c:pt>
                <c:pt idx="7">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4">
                  <c:v>0.0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E$2:$E$9</c:f>
              <c:numCache>
                <c:formatCode>General</c:formatCode>
                <c:ptCount val="8"/>
                <c:pt idx="4">
                  <c:v>0.560000000000000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1">
                  <c:v>0.88</c:v>
                </c:pt>
                <c:pt idx="3">
                  <c:v>0.28000000000000003</c:v>
                </c:pt>
                <c:pt idx="6">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1</c:v>
                </c:pt>
                <c:pt idx="1">
                  <c:v>0.12</c:v>
                </c:pt>
                <c:pt idx="2">
                  <c:v>1</c:v>
                </c:pt>
                <c:pt idx="4">
                  <c:v>1</c:v>
                </c:pt>
                <c:pt idx="5">
                  <c:v>1</c:v>
                </c:pt>
                <c:pt idx="6">
                  <c:v>0.79</c:v>
                </c:pt>
                <c:pt idx="7">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3">
                  <c:v>0.0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E$2:$E$9</c:f>
              <c:numCache>
                <c:formatCode>General</c:formatCode>
                <c:ptCount val="8"/>
                <c:pt idx="3">
                  <c:v>0.7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1">
                  <c:v>0.52</c:v>
                </c:pt>
                <c:pt idx="2">
                  <c:v>0.3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UNDEFINED</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1</c:v>
                </c:pt>
                <c:pt idx="1">
                  <c:v>0.48</c:v>
                </c:pt>
                <c:pt idx="3">
                  <c:v>1</c:v>
                </c:pt>
                <c:pt idx="4">
                  <c:v>1</c:v>
                </c:pt>
                <c:pt idx="5">
                  <c:v>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E$2:$E$7</c:f>
              <c:numCache>
                <c:formatCode>General</c:formatCode>
                <c:ptCount val="6"/>
                <c:pt idx="2">
                  <c:v>0.6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1">
                  <c:v>1</c:v>
                </c:pt>
                <c:pt idx="2">
                  <c:v>0.24</c:v>
                </c:pt>
                <c:pt idx="5">
                  <c:v>0.2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1</c:v>
                </c:pt>
                <c:pt idx="3">
                  <c:v>1</c:v>
                </c:pt>
                <c:pt idx="4">
                  <c:v>1</c:v>
                </c:pt>
                <c:pt idx="5">
                  <c:v>0.78</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2">
                  <c:v>0.0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E$2:$E$7</c:f>
              <c:numCache>
                <c:formatCode>General</c:formatCode>
                <c:ptCount val="6"/>
                <c:pt idx="2">
                  <c:v>0.7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7135</c:v>
                </c:pt>
                <c:pt idx="39">
                  <c:v>18098</c:v>
                </c:pt>
                <c:pt idx="40">
                  <c:v>13315</c:v>
                </c:pt>
                <c:pt idx="41">
                  <c:v>99040</c:v>
                </c:pt>
                <c:pt idx="42">
                  <c:v>106006</c:v>
                </c:pt>
                <c:pt idx="43">
                  <c:v>92756</c:v>
                </c:pt>
                <c:pt idx="44">
                  <c:v>367107</c:v>
                </c:pt>
                <c:pt idx="45">
                  <c:v>345022</c:v>
                </c:pt>
                <c:pt idx="46">
                  <c:v>311875</c:v>
                </c:pt>
                <c:pt idx="47">
                  <c:v>101117</c:v>
                </c:pt>
                <c:pt idx="48">
                  <c:v>90338</c:v>
                </c:pt>
                <c:pt idx="49">
                  <c:v>107079</c:v>
                </c:pt>
                <c:pt idx="50">
                  <c:v>222973</c:v>
                </c:pt>
                <c:pt idx="51">
                  <c:v>317742</c:v>
                </c:pt>
                <c:pt idx="52">
                  <c:v>355345</c:v>
                </c:pt>
                <c:pt idx="53">
                  <c:v>408148</c:v>
                </c:pt>
                <c:pt idx="54">
                  <c:v>359559</c:v>
                </c:pt>
                <c:pt idx="55">
                  <c:v>314110</c:v>
                </c:pt>
                <c:pt idx="56">
                  <c:v>26478</c:v>
                </c:pt>
                <c:pt idx="57">
                  <c:v>26597</c:v>
                </c:pt>
                <c:pt idx="58">
                  <c:v>21766</c:v>
                </c:pt>
                <c:pt idx="59">
                  <c:v>25659</c:v>
                </c:pt>
                <c:pt idx="60">
                  <c:v>77392</c:v>
                </c:pt>
                <c:pt idx="61">
                  <c:v>99384</c:v>
                </c:pt>
                <c:pt idx="62">
                  <c:v>72037</c:v>
                </c:pt>
                <c:pt idx="63">
                  <c:v>24860</c:v>
                </c:pt>
                <c:pt idx="64">
                  <c:v>10502</c:v>
                </c:pt>
                <c:pt idx="65">
                  <c:v>84125</c:v>
                </c:pt>
                <c:pt idx="66">
                  <c:v>183097</c:v>
                </c:pt>
                <c:pt idx="67">
                  <c:v>171577</c:v>
                </c:pt>
                <c:pt idx="68">
                  <c:v>103577</c:v>
                </c:pt>
                <c:pt idx="69">
                  <c:v>53987</c:v>
                </c:pt>
                <c:pt idx="70">
                  <c:v>36053</c:v>
                </c:pt>
                <c:pt idx="71">
                  <c:v>61765</c:v>
                </c:pt>
                <c:pt idx="72">
                  <c:v>51959</c:v>
                </c:pt>
                <c:pt idx="73">
                  <c:v>193830</c:v>
                </c:pt>
                <c:pt idx="74">
                  <c:v>238159</c:v>
                </c:pt>
                <c:pt idx="75">
                  <c:v>236593</c:v>
                </c:pt>
                <c:pt idx="76">
                  <c:v>230309</c:v>
                </c:pt>
                <c:pt idx="77">
                  <c:v>228007</c:v>
                </c:pt>
                <c:pt idx="78">
                  <c:v>227491</c:v>
                </c:pt>
                <c:pt idx="79">
                  <c:v>26241</c:v>
                </c:pt>
                <c:pt idx="80">
                  <c:v>1270</c:v>
                </c:pt>
                <c:pt idx="81">
                  <c:v>1368</c:v>
                </c:pt>
                <c:pt idx="82">
                  <c:v>49312</c:v>
                </c:pt>
                <c:pt idx="83">
                  <c:v>56195</c:v>
                </c:pt>
                <c:pt idx="84">
                  <c:v>61690</c:v>
                </c:pt>
                <c:pt idx="85">
                  <c:v>54826</c:v>
                </c:pt>
                <c:pt idx="86">
                  <c:v>13618</c:v>
                </c:pt>
                <c:pt idx="87">
                  <c:v>14642</c:v>
                </c:pt>
                <c:pt idx="88">
                  <c:v>13438</c:v>
                </c:pt>
                <c:pt idx="89">
                  <c:v>14613</c:v>
                </c:pt>
                <c:pt idx="90">
                  <c:v>15617</c:v>
                </c:pt>
                <c:pt idx="91">
                  <c:v>1307</c:v>
                </c:pt>
                <c:pt idx="92">
                  <c:v>910</c:v>
                </c:pt>
                <c:pt idx="93">
                  <c:v>46520</c:v>
                </c:pt>
                <c:pt idx="94">
                  <c:v>54916</c:v>
                </c:pt>
                <c:pt idx="95">
                  <c:v>247723</c:v>
                </c:pt>
                <c:pt idx="96">
                  <c:v>259457</c:v>
                </c:pt>
                <c:pt idx="97">
                  <c:v>248536</c:v>
                </c:pt>
                <c:pt idx="98">
                  <c:v>241752</c:v>
                </c:pt>
                <c:pt idx="99">
                  <c:v>221995</c:v>
                </c:pt>
                <c:pt idx="100">
                  <c:v>189946</c:v>
                </c:pt>
                <c:pt idx="101">
                  <c:v>56518</c:v>
                </c:pt>
                <c:pt idx="102">
                  <c:v>76281</c:v>
                </c:pt>
                <c:pt idx="103">
                  <c:v>65335</c:v>
                </c:pt>
                <c:pt idx="104">
                  <c:v>201725</c:v>
                </c:pt>
                <c:pt idx="105">
                  <c:v>281649</c:v>
                </c:pt>
                <c:pt idx="106">
                  <c:v>297077</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5825</c:v>
                </c:pt>
                <c:pt idx="41">
                  <c:v>205352</c:v>
                </c:pt>
                <c:pt idx="42">
                  <c:v>203403</c:v>
                </c:pt>
                <c:pt idx="43">
                  <c:v>261794</c:v>
                </c:pt>
                <c:pt idx="44">
                  <c:v>103</c:v>
                </c:pt>
                <c:pt idx="45">
                  <c:v>40</c:v>
                </c:pt>
                <c:pt idx="46">
                  <c:v>456</c:v>
                </c:pt>
                <c:pt idx="47">
                  <c:v>186849</c:v>
                </c:pt>
                <c:pt idx="48">
                  <c:v>227013</c:v>
                </c:pt>
                <c:pt idx="49">
                  <c:v>227849</c:v>
                </c:pt>
                <c:pt idx="50">
                  <c:v>226010</c:v>
                </c:pt>
                <c:pt idx="51">
                  <c:v>780</c:v>
                </c:pt>
                <c:pt idx="52">
                  <c:v>117</c:v>
                </c:pt>
                <c:pt idx="53">
                  <c:v>51</c:v>
                </c:pt>
                <c:pt idx="54">
                  <c:v>96</c:v>
                </c:pt>
                <c:pt idx="55">
                  <c:v>9508</c:v>
                </c:pt>
                <c:pt idx="56">
                  <c:v>250418</c:v>
                </c:pt>
                <c:pt idx="57">
                  <c:v>240158</c:v>
                </c:pt>
                <c:pt idx="58">
                  <c:v>221312</c:v>
                </c:pt>
                <c:pt idx="59">
                  <c:v>248756</c:v>
                </c:pt>
                <c:pt idx="60">
                  <c:v>220819</c:v>
                </c:pt>
                <c:pt idx="61">
                  <c:v>212413</c:v>
                </c:pt>
                <c:pt idx="62">
                  <c:v>230323</c:v>
                </c:pt>
                <c:pt idx="63">
                  <c:v>247648</c:v>
                </c:pt>
                <c:pt idx="64">
                  <c:v>260415</c:v>
                </c:pt>
                <c:pt idx="65">
                  <c:v>169548</c:v>
                </c:pt>
                <c:pt idx="66">
                  <c:v>120659</c:v>
                </c:pt>
                <c:pt idx="67">
                  <c:v>131631</c:v>
                </c:pt>
                <c:pt idx="68">
                  <c:v>157361</c:v>
                </c:pt>
                <c:pt idx="69">
                  <c:v>174276</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996</c:v>
                </c:pt>
                <c:pt idx="39">
                  <c:v>291454</c:v>
                </c:pt>
                <c:pt idx="40">
                  <c:v>289140</c:v>
                </c:pt>
                <c:pt idx="41">
                  <c:v>304392</c:v>
                </c:pt>
                <c:pt idx="42">
                  <c:v>309409</c:v>
                </c:pt>
                <c:pt idx="43">
                  <c:v>354550</c:v>
                </c:pt>
                <c:pt idx="44">
                  <c:v>367210</c:v>
                </c:pt>
                <c:pt idx="45">
                  <c:v>345062</c:v>
                </c:pt>
                <c:pt idx="46">
                  <c:v>312331</c:v>
                </c:pt>
                <c:pt idx="47">
                  <c:v>287966</c:v>
                </c:pt>
                <c:pt idx="48">
                  <c:v>317351</c:v>
                </c:pt>
                <c:pt idx="49">
                  <c:v>334928</c:v>
                </c:pt>
                <c:pt idx="50">
                  <c:v>448983</c:v>
                </c:pt>
                <c:pt idx="51">
                  <c:v>318522</c:v>
                </c:pt>
                <c:pt idx="52">
                  <c:v>355462</c:v>
                </c:pt>
                <c:pt idx="53">
                  <c:v>408199</c:v>
                </c:pt>
                <c:pt idx="54">
                  <c:v>359655</c:v>
                </c:pt>
                <c:pt idx="55">
                  <c:v>323618</c:v>
                </c:pt>
                <c:pt idx="56">
                  <c:v>276896</c:v>
                </c:pt>
                <c:pt idx="57">
                  <c:v>266755</c:v>
                </c:pt>
                <c:pt idx="58">
                  <c:v>243078</c:v>
                </c:pt>
                <c:pt idx="59">
                  <c:v>274415</c:v>
                </c:pt>
                <c:pt idx="60">
                  <c:v>298211</c:v>
                </c:pt>
                <c:pt idx="61">
                  <c:v>311797</c:v>
                </c:pt>
                <c:pt idx="62">
                  <c:v>302360</c:v>
                </c:pt>
                <c:pt idx="63">
                  <c:v>272508</c:v>
                </c:pt>
                <c:pt idx="64">
                  <c:v>270917</c:v>
                </c:pt>
                <c:pt idx="65">
                  <c:v>253673</c:v>
                </c:pt>
                <c:pt idx="66">
                  <c:v>303756</c:v>
                </c:pt>
                <c:pt idx="67">
                  <c:v>303208</c:v>
                </c:pt>
                <c:pt idx="68">
                  <c:v>260938</c:v>
                </c:pt>
                <c:pt idx="69">
                  <c:v>228263</c:v>
                </c:pt>
                <c:pt idx="70">
                  <c:v>213726</c:v>
                </c:pt>
                <c:pt idx="71">
                  <c:v>199537</c:v>
                </c:pt>
                <c:pt idx="72">
                  <c:v>209855</c:v>
                </c:pt>
                <c:pt idx="73">
                  <c:v>209648</c:v>
                </c:pt>
                <c:pt idx="74">
                  <c:v>241304</c:v>
                </c:pt>
                <c:pt idx="75">
                  <c:v>238890</c:v>
                </c:pt>
                <c:pt idx="76">
                  <c:v>234071</c:v>
                </c:pt>
                <c:pt idx="77">
                  <c:v>241372</c:v>
                </c:pt>
                <c:pt idx="78">
                  <c:v>245574</c:v>
                </c:pt>
                <c:pt idx="79">
                  <c:v>187713</c:v>
                </c:pt>
                <c:pt idx="80">
                  <c:v>184551</c:v>
                </c:pt>
                <c:pt idx="81">
                  <c:v>186296</c:v>
                </c:pt>
                <c:pt idx="82">
                  <c:v>197274</c:v>
                </c:pt>
                <c:pt idx="83">
                  <c:v>212655</c:v>
                </c:pt>
                <c:pt idx="84">
                  <c:v>208814</c:v>
                </c:pt>
                <c:pt idx="85">
                  <c:v>213404</c:v>
                </c:pt>
                <c:pt idx="86">
                  <c:v>195904</c:v>
                </c:pt>
                <c:pt idx="87">
                  <c:v>186348</c:v>
                </c:pt>
                <c:pt idx="88">
                  <c:v>185541</c:v>
                </c:pt>
                <c:pt idx="89">
                  <c:v>181607</c:v>
                </c:pt>
                <c:pt idx="90">
                  <c:v>188080</c:v>
                </c:pt>
                <c:pt idx="91">
                  <c:v>249849</c:v>
                </c:pt>
                <c:pt idx="92">
                  <c:v>187890</c:v>
                </c:pt>
                <c:pt idx="93">
                  <c:v>200949</c:v>
                </c:pt>
                <c:pt idx="94">
                  <c:v>221561</c:v>
                </c:pt>
                <c:pt idx="95">
                  <c:v>247723</c:v>
                </c:pt>
                <c:pt idx="96">
                  <c:v>259638</c:v>
                </c:pt>
                <c:pt idx="97">
                  <c:v>249169</c:v>
                </c:pt>
                <c:pt idx="98">
                  <c:v>241771</c:v>
                </c:pt>
                <c:pt idx="99">
                  <c:v>222019</c:v>
                </c:pt>
                <c:pt idx="100">
                  <c:v>219175</c:v>
                </c:pt>
                <c:pt idx="101">
                  <c:v>225809</c:v>
                </c:pt>
                <c:pt idx="102">
                  <c:v>239189</c:v>
                </c:pt>
                <c:pt idx="103">
                  <c:v>202677</c:v>
                </c:pt>
                <c:pt idx="104">
                  <c:v>218991</c:v>
                </c:pt>
                <c:pt idx="105">
                  <c:v>281649</c:v>
                </c:pt>
                <c:pt idx="106">
                  <c:v>297192</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493</c:v>
                </c:pt>
                <c:pt idx="39">
                  <c:v>285875</c:v>
                </c:pt>
                <c:pt idx="40">
                  <c:v>294432</c:v>
                </c:pt>
                <c:pt idx="41">
                  <c:v>296527</c:v>
                </c:pt>
                <c:pt idx="42">
                  <c:v>300350</c:v>
                </c:pt>
                <c:pt idx="43">
                  <c:v>304879</c:v>
                </c:pt>
                <c:pt idx="44">
                  <c:v>307649</c:v>
                </c:pt>
                <c:pt idx="45">
                  <c:v>307981</c:v>
                </c:pt>
                <c:pt idx="46">
                  <c:v>305362</c:v>
                </c:pt>
                <c:pt idx="47">
                  <c:v>305364</c:v>
                </c:pt>
                <c:pt idx="48">
                  <c:v>303731</c:v>
                </c:pt>
                <c:pt idx="49">
                  <c:v>303601</c:v>
                </c:pt>
                <c:pt idx="50">
                  <c:v>304442</c:v>
                </c:pt>
                <c:pt idx="51">
                  <c:v>297518</c:v>
                </c:pt>
                <c:pt idx="52">
                  <c:v>304592</c:v>
                </c:pt>
                <c:pt idx="53">
                  <c:v>311082</c:v>
                </c:pt>
                <c:pt idx="54">
                  <c:v>299305</c:v>
                </c:pt>
                <c:pt idx="55">
                  <c:v>276632</c:v>
                </c:pt>
                <c:pt idx="56">
                  <c:v>285907</c:v>
                </c:pt>
                <c:pt idx="57">
                  <c:v>277802</c:v>
                </c:pt>
                <c:pt idx="58">
                  <c:v>265147</c:v>
                </c:pt>
                <c:pt idx="59">
                  <c:v>294078</c:v>
                </c:pt>
                <c:pt idx="60">
                  <c:v>295055</c:v>
                </c:pt>
                <c:pt idx="61">
                  <c:v>287353</c:v>
                </c:pt>
                <c:pt idx="62">
                  <c:v>278368</c:v>
                </c:pt>
                <c:pt idx="63">
                  <c:v>278996</c:v>
                </c:pt>
                <c:pt idx="64">
                  <c:v>279743</c:v>
                </c:pt>
                <c:pt idx="65">
                  <c:v>275241</c:v>
                </c:pt>
                <c:pt idx="66">
                  <c:v>275268</c:v>
                </c:pt>
                <c:pt idx="67">
                  <c:v>263198</c:v>
                </c:pt>
                <c:pt idx="68">
                  <c:v>247678</c:v>
                </c:pt>
                <c:pt idx="69">
                  <c:v>231360</c:v>
                </c:pt>
                <c:pt idx="70">
                  <c:v>201030</c:v>
                </c:pt>
                <c:pt idx="71">
                  <c:v>196995</c:v>
                </c:pt>
                <c:pt idx="72">
                  <c:v>204592</c:v>
                </c:pt>
                <c:pt idx="73">
                  <c:v>190118</c:v>
                </c:pt>
                <c:pt idx="74">
                  <c:v>188644</c:v>
                </c:pt>
                <c:pt idx="75">
                  <c:v>182808</c:v>
                </c:pt>
                <c:pt idx="76">
                  <c:v>187038</c:v>
                </c:pt>
                <c:pt idx="77">
                  <c:v>184219</c:v>
                </c:pt>
                <c:pt idx="78">
                  <c:v>184461</c:v>
                </c:pt>
                <c:pt idx="79">
                  <c:v>184061</c:v>
                </c:pt>
                <c:pt idx="80">
                  <c:v>184722</c:v>
                </c:pt>
                <c:pt idx="81">
                  <c:v>184853</c:v>
                </c:pt>
                <c:pt idx="82">
                  <c:v>188276</c:v>
                </c:pt>
                <c:pt idx="83">
                  <c:v>191798</c:v>
                </c:pt>
                <c:pt idx="84">
                  <c:v>189231</c:v>
                </c:pt>
                <c:pt idx="85">
                  <c:v>190467</c:v>
                </c:pt>
                <c:pt idx="86">
                  <c:v>188839</c:v>
                </c:pt>
                <c:pt idx="87">
                  <c:v>189565</c:v>
                </c:pt>
                <c:pt idx="88">
                  <c:v>197332</c:v>
                </c:pt>
                <c:pt idx="89">
                  <c:v>197618</c:v>
                </c:pt>
                <c:pt idx="90">
                  <c:v>196538</c:v>
                </c:pt>
                <c:pt idx="91">
                  <c:v>198652</c:v>
                </c:pt>
                <c:pt idx="92">
                  <c:v>201537</c:v>
                </c:pt>
                <c:pt idx="93">
                  <c:v>202294</c:v>
                </c:pt>
                <c:pt idx="94">
                  <c:v>204937</c:v>
                </c:pt>
                <c:pt idx="95">
                  <c:v>209925</c:v>
                </c:pt>
                <c:pt idx="96">
                  <c:v>191200</c:v>
                </c:pt>
                <c:pt idx="97">
                  <c:v>192704</c:v>
                </c:pt>
                <c:pt idx="98">
                  <c:v>203498</c:v>
                </c:pt>
                <c:pt idx="99">
                  <c:v>212330</c:v>
                </c:pt>
                <c:pt idx="100">
                  <c:v>203668</c:v>
                </c:pt>
                <c:pt idx="101">
                  <c:v>203304</c:v>
                </c:pt>
                <c:pt idx="102">
                  <c:v>204650</c:v>
                </c:pt>
                <c:pt idx="103">
                  <c:v>204064</c:v>
                </c:pt>
                <c:pt idx="104">
                  <c:v>200961</c:v>
                </c:pt>
                <c:pt idx="105">
                  <c:v>200872</c:v>
                </c:pt>
                <c:pt idx="106">
                  <c:v>204318</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4</c:v>
                </c:pt>
                <c:pt idx="40">
                  <c:v>0.03</c:v>
                </c:pt>
                <c:pt idx="41">
                  <c:v>0.31</c:v>
                </c:pt>
                <c:pt idx="42">
                  <c:v>0.36</c:v>
                </c:pt>
                <c:pt idx="43">
                  <c:v>0.26</c:v>
                </c:pt>
                <c:pt idx="44">
                  <c:v>1</c:v>
                </c:pt>
                <c:pt idx="45">
                  <c:v>1</c:v>
                </c:pt>
                <c:pt idx="46">
                  <c:v>1</c:v>
                </c:pt>
                <c:pt idx="47">
                  <c:v>0.35</c:v>
                </c:pt>
                <c:pt idx="48">
                  <c:v>0.27</c:v>
                </c:pt>
                <c:pt idx="49">
                  <c:v>0.27</c:v>
                </c:pt>
                <c:pt idx="50">
                  <c:v>0.4</c:v>
                </c:pt>
                <c:pt idx="51">
                  <c:v>1</c:v>
                </c:pt>
                <c:pt idx="52">
                  <c:v>1</c:v>
                </c:pt>
                <c:pt idx="53">
                  <c:v>1</c:v>
                </c:pt>
                <c:pt idx="54">
                  <c:v>1</c:v>
                </c:pt>
                <c:pt idx="55">
                  <c:v>0.97</c:v>
                </c:pt>
                <c:pt idx="56">
                  <c:v>0.09</c:v>
                </c:pt>
                <c:pt idx="57">
                  <c:v>0.1</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5180</c:v>
                </c:pt>
                <c:pt idx="1">
                  <c:v>88409</c:v>
                </c:pt>
                <c:pt idx="2">
                  <c:v>89447</c:v>
                </c:pt>
                <c:pt idx="3">
                  <c:v>59726</c:v>
                </c:pt>
                <c:pt idx="4">
                  <c:v>46036</c:v>
                </c:pt>
                <c:pt idx="5">
                  <c:v>64039</c:v>
                </c:pt>
                <c:pt idx="6">
                  <c:v>73915</c:v>
                </c:pt>
                <c:pt idx="7">
                  <c:v>129122</c:v>
                </c:pt>
                <c:pt idx="8">
                  <c:v>92007</c:v>
                </c:pt>
                <c:pt idx="9">
                  <c:v>91984</c:v>
                </c:pt>
                <c:pt idx="10">
                  <c:v>107218</c:v>
                </c:pt>
                <c:pt idx="11">
                  <c:v>114973</c:v>
                </c:pt>
                <c:pt idx="12">
                  <c:v>32310</c:v>
                </c:pt>
                <c:pt idx="13">
                  <c:v>69568</c:v>
                </c:pt>
                <c:pt idx="14">
                  <c:v>94462</c:v>
                </c:pt>
                <c:pt idx="15">
                  <c:v>122577</c:v>
                </c:pt>
                <c:pt idx="16">
                  <c:v>39717</c:v>
                </c:pt>
                <c:pt idx="17">
                  <c:v>10140</c:v>
                </c:pt>
                <c:pt idx="18">
                  <c:v>6383</c:v>
                </c:pt>
                <c:pt idx="19">
                  <c:v>4802</c:v>
                </c:pt>
                <c:pt idx="20">
                  <c:v>5507</c:v>
                </c:pt>
                <c:pt idx="21">
                  <c:v>3840</c:v>
                </c:pt>
                <c:pt idx="22">
                  <c:v>3406</c:v>
                </c:pt>
                <c:pt idx="23">
                  <c:v>2247</c:v>
                </c:pt>
                <c:pt idx="24">
                  <c:v>3999</c:v>
                </c:pt>
                <c:pt idx="25">
                  <c:v>4953</c:v>
                </c:pt>
                <c:pt idx="26">
                  <c:v>2118</c:v>
                </c:pt>
                <c:pt idx="27">
                  <c:v>69468</c:v>
                </c:pt>
                <c:pt idx="28">
                  <c:v>145662</c:v>
                </c:pt>
                <c:pt idx="29">
                  <c:v>41260</c:v>
                </c:pt>
                <c:pt idx="30">
                  <c:v>36778</c:v>
                </c:pt>
                <c:pt idx="31">
                  <c:v>198410</c:v>
                </c:pt>
                <c:pt idx="32">
                  <c:v>418107</c:v>
                </c:pt>
                <c:pt idx="33">
                  <c:v>426460</c:v>
                </c:pt>
                <c:pt idx="34">
                  <c:v>431924</c:v>
                </c:pt>
                <c:pt idx="35">
                  <c:v>404599</c:v>
                </c:pt>
                <c:pt idx="36">
                  <c:v>372312</c:v>
                </c:pt>
                <c:pt idx="37">
                  <c:v>363831</c:v>
                </c:pt>
                <c:pt idx="38">
                  <c:v>368847</c:v>
                </c:pt>
                <c:pt idx="39">
                  <c:v>403738</c:v>
                </c:pt>
                <c:pt idx="40">
                  <c:v>458127</c:v>
                </c:pt>
                <c:pt idx="41">
                  <c:v>465897</c:v>
                </c:pt>
                <c:pt idx="42">
                  <c:v>444034</c:v>
                </c:pt>
                <c:pt idx="43">
                  <c:v>122355</c:v>
                </c:pt>
                <c:pt idx="44">
                  <c:v>109173</c:v>
                </c:pt>
                <c:pt idx="45">
                  <c:v>131651</c:v>
                </c:pt>
                <c:pt idx="46">
                  <c:v>211172</c:v>
                </c:pt>
                <c:pt idx="47">
                  <c:v>225874</c:v>
                </c:pt>
                <c:pt idx="48">
                  <c:v>341235</c:v>
                </c:pt>
                <c:pt idx="49">
                  <c:v>439590</c:v>
                </c:pt>
                <c:pt idx="50">
                  <c:v>813790</c:v>
                </c:pt>
                <c:pt idx="51">
                  <c:v>1062797</c:v>
                </c:pt>
                <c:pt idx="52">
                  <c:v>85491</c:v>
                </c:pt>
                <c:pt idx="53">
                  <c:v>56733</c:v>
                </c:pt>
                <c:pt idx="54">
                  <c:v>29182</c:v>
                </c:pt>
                <c:pt idx="55">
                  <c:v>15846</c:v>
                </c:pt>
                <c:pt idx="56">
                  <c:v>42772</c:v>
                </c:pt>
                <c:pt idx="57">
                  <c:v>74997</c:v>
                </c:pt>
                <c:pt idx="58">
                  <c:v>124054</c:v>
                </c:pt>
                <c:pt idx="59">
                  <c:v>255150</c:v>
                </c:pt>
                <c:pt idx="60">
                  <c:v>165541</c:v>
                </c:pt>
                <c:pt idx="61">
                  <c:v>116751</c:v>
                </c:pt>
                <c:pt idx="62">
                  <c:v>95083</c:v>
                </c:pt>
                <c:pt idx="63">
                  <c:v>191978</c:v>
                </c:pt>
                <c:pt idx="64">
                  <c:v>136823</c:v>
                </c:pt>
                <c:pt idx="65">
                  <c:v>126990</c:v>
                </c:pt>
                <c:pt idx="66">
                  <c:v>132506</c:v>
                </c:pt>
                <c:pt idx="67">
                  <c:v>184973</c:v>
                </c:pt>
                <c:pt idx="68">
                  <c:v>120847</c:v>
                </c:pt>
                <c:pt idx="69">
                  <c:v>123245</c:v>
                </c:pt>
                <c:pt idx="70">
                  <c:v>111737</c:v>
                </c:pt>
                <c:pt idx="71">
                  <c:v>119185</c:v>
                </c:pt>
                <c:pt idx="72">
                  <c:v>121307</c:v>
                </c:pt>
                <c:pt idx="73">
                  <c:v>1146</c:v>
                </c:pt>
                <c:pt idx="74">
                  <c:v>1941</c:v>
                </c:pt>
                <c:pt idx="75">
                  <c:v>1686</c:v>
                </c:pt>
                <c:pt idx="76">
                  <c:v>3451</c:v>
                </c:pt>
                <c:pt idx="77">
                  <c:v>1179</c:v>
                </c:pt>
                <c:pt idx="78">
                  <c:v>3092</c:v>
                </c:pt>
                <c:pt idx="79">
                  <c:v>28950</c:v>
                </c:pt>
                <c:pt idx="80">
                  <c:v>53278</c:v>
                </c:pt>
                <c:pt idx="81">
                  <c:v>54784</c:v>
                </c:pt>
                <c:pt idx="82">
                  <c:v>52953</c:v>
                </c:pt>
                <c:pt idx="83">
                  <c:v>15426</c:v>
                </c:pt>
                <c:pt idx="84">
                  <c:v>13768</c:v>
                </c:pt>
                <c:pt idx="85">
                  <c:v>1571</c:v>
                </c:pt>
                <c:pt idx="86">
                  <c:v>8979</c:v>
                </c:pt>
                <c:pt idx="87">
                  <c:v>1795</c:v>
                </c:pt>
                <c:pt idx="88">
                  <c:v>2002</c:v>
                </c:pt>
                <c:pt idx="89">
                  <c:v>1765</c:v>
                </c:pt>
                <c:pt idx="90">
                  <c:v>28288</c:v>
                </c:pt>
                <c:pt idx="91">
                  <c:v>69324</c:v>
                </c:pt>
                <c:pt idx="92">
                  <c:v>133417</c:v>
                </c:pt>
                <c:pt idx="93">
                  <c:v>187535</c:v>
                </c:pt>
                <c:pt idx="94">
                  <c:v>132290</c:v>
                </c:pt>
                <c:pt idx="95">
                  <c:v>73051</c:v>
                </c:pt>
                <c:pt idx="96">
                  <c:v>92941</c:v>
                </c:pt>
                <c:pt idx="97">
                  <c:v>162895</c:v>
                </c:pt>
                <c:pt idx="98">
                  <c:v>294214</c:v>
                </c:pt>
                <c:pt idx="99">
                  <c:v>404954</c:v>
                </c:pt>
                <c:pt idx="100">
                  <c:v>486127</c:v>
                </c:pt>
                <c:pt idx="101">
                  <c:v>521428</c:v>
                </c:pt>
                <c:pt idx="102">
                  <c:v>642270</c:v>
                </c:pt>
                <c:pt idx="103">
                  <c:v>904039</c:v>
                </c:pt>
                <c:pt idx="104">
                  <c:v>177095</c:v>
                </c:pt>
                <c:pt idx="105">
                  <c:v>153782</c:v>
                </c:pt>
                <c:pt idx="106">
                  <c:v>151663</c:v>
                </c:pt>
                <c:pt idx="107">
                  <c:v>13667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7533</c:v>
                </c:pt>
                <c:pt idx="1">
                  <c:v>624511</c:v>
                </c:pt>
                <c:pt idx="2">
                  <c:v>616456</c:v>
                </c:pt>
                <c:pt idx="3">
                  <c:v>597714</c:v>
                </c:pt>
                <c:pt idx="4">
                  <c:v>621143</c:v>
                </c:pt>
                <c:pt idx="5">
                  <c:v>629988</c:v>
                </c:pt>
                <c:pt idx="6">
                  <c:v>599329</c:v>
                </c:pt>
                <c:pt idx="7">
                  <c:v>619718</c:v>
                </c:pt>
                <c:pt idx="8">
                  <c:v>663577</c:v>
                </c:pt>
                <c:pt idx="9">
                  <c:v>613201</c:v>
                </c:pt>
                <c:pt idx="10">
                  <c:v>600768</c:v>
                </c:pt>
                <c:pt idx="11">
                  <c:v>609569</c:v>
                </c:pt>
                <c:pt idx="12">
                  <c:v>634250</c:v>
                </c:pt>
                <c:pt idx="13">
                  <c:v>664856</c:v>
                </c:pt>
                <c:pt idx="14">
                  <c:v>569088</c:v>
                </c:pt>
                <c:pt idx="15">
                  <c:v>625259</c:v>
                </c:pt>
                <c:pt idx="16">
                  <c:v>630508</c:v>
                </c:pt>
                <c:pt idx="17">
                  <c:v>696887</c:v>
                </c:pt>
                <c:pt idx="18">
                  <c:v>655442</c:v>
                </c:pt>
                <c:pt idx="19">
                  <c:v>651329</c:v>
                </c:pt>
                <c:pt idx="20">
                  <c:v>705562</c:v>
                </c:pt>
                <c:pt idx="21">
                  <c:v>726074</c:v>
                </c:pt>
                <c:pt idx="22">
                  <c:v>734894</c:v>
                </c:pt>
                <c:pt idx="23">
                  <c:v>710792</c:v>
                </c:pt>
                <c:pt idx="24">
                  <c:v>696850</c:v>
                </c:pt>
                <c:pt idx="25">
                  <c:v>712847</c:v>
                </c:pt>
                <c:pt idx="26">
                  <c:v>739663</c:v>
                </c:pt>
                <c:pt idx="27">
                  <c:v>657418</c:v>
                </c:pt>
                <c:pt idx="28">
                  <c:v>633757</c:v>
                </c:pt>
                <c:pt idx="29">
                  <c:v>682925</c:v>
                </c:pt>
                <c:pt idx="30">
                  <c:v>732340</c:v>
                </c:pt>
                <c:pt idx="31">
                  <c:v>535979</c:v>
                </c:pt>
                <c:pt idx="32">
                  <c:v>332627</c:v>
                </c:pt>
                <c:pt idx="33">
                  <c:v>303557</c:v>
                </c:pt>
                <c:pt idx="34">
                  <c:v>311441</c:v>
                </c:pt>
                <c:pt idx="35">
                  <c:v>329061</c:v>
                </c:pt>
                <c:pt idx="36">
                  <c:v>319282</c:v>
                </c:pt>
                <c:pt idx="37">
                  <c:v>313048</c:v>
                </c:pt>
                <c:pt idx="38">
                  <c:v>308824</c:v>
                </c:pt>
                <c:pt idx="39">
                  <c:v>314684</c:v>
                </c:pt>
                <c:pt idx="40">
                  <c:v>285068</c:v>
                </c:pt>
                <c:pt idx="41">
                  <c:v>286174</c:v>
                </c:pt>
                <c:pt idx="42">
                  <c:v>290786</c:v>
                </c:pt>
                <c:pt idx="43">
                  <c:v>641780</c:v>
                </c:pt>
                <c:pt idx="44">
                  <c:v>671418</c:v>
                </c:pt>
                <c:pt idx="45">
                  <c:v>642178</c:v>
                </c:pt>
                <c:pt idx="46">
                  <c:v>595350</c:v>
                </c:pt>
                <c:pt idx="47">
                  <c:v>634376</c:v>
                </c:pt>
                <c:pt idx="48">
                  <c:v>646642</c:v>
                </c:pt>
                <c:pt idx="49">
                  <c:v>630619</c:v>
                </c:pt>
                <c:pt idx="50">
                  <c:v>678751</c:v>
                </c:pt>
                <c:pt idx="51">
                  <c:v>504651</c:v>
                </c:pt>
                <c:pt idx="52">
                  <c:v>555168</c:v>
                </c:pt>
                <c:pt idx="53">
                  <c:v>502025</c:v>
                </c:pt>
                <c:pt idx="54">
                  <c:v>534615</c:v>
                </c:pt>
                <c:pt idx="55">
                  <c:v>587327</c:v>
                </c:pt>
                <c:pt idx="56">
                  <c:v>587826</c:v>
                </c:pt>
                <c:pt idx="57">
                  <c:v>565396</c:v>
                </c:pt>
                <c:pt idx="58">
                  <c:v>480523</c:v>
                </c:pt>
                <c:pt idx="59">
                  <c:v>468901</c:v>
                </c:pt>
                <c:pt idx="60">
                  <c:v>512220</c:v>
                </c:pt>
                <c:pt idx="61">
                  <c:v>537435</c:v>
                </c:pt>
                <c:pt idx="62">
                  <c:v>523052</c:v>
                </c:pt>
                <c:pt idx="63">
                  <c:v>478096</c:v>
                </c:pt>
                <c:pt idx="64">
                  <c:v>512362</c:v>
                </c:pt>
                <c:pt idx="65">
                  <c:v>512607</c:v>
                </c:pt>
                <c:pt idx="66">
                  <c:v>484377</c:v>
                </c:pt>
                <c:pt idx="67">
                  <c:v>488426</c:v>
                </c:pt>
                <c:pt idx="68">
                  <c:v>488309</c:v>
                </c:pt>
                <c:pt idx="69">
                  <c:v>516786</c:v>
                </c:pt>
                <c:pt idx="70">
                  <c:v>513598</c:v>
                </c:pt>
                <c:pt idx="71">
                  <c:v>482095</c:v>
                </c:pt>
                <c:pt idx="72">
                  <c:v>546756</c:v>
                </c:pt>
                <c:pt idx="73">
                  <c:v>610299</c:v>
                </c:pt>
                <c:pt idx="74">
                  <c:v>658475</c:v>
                </c:pt>
                <c:pt idx="75">
                  <c:v>621002</c:v>
                </c:pt>
                <c:pt idx="76">
                  <c:v>618826</c:v>
                </c:pt>
                <c:pt idx="77">
                  <c:v>616269</c:v>
                </c:pt>
                <c:pt idx="78">
                  <c:v>666258</c:v>
                </c:pt>
                <c:pt idx="79">
                  <c:v>591776</c:v>
                </c:pt>
                <c:pt idx="80">
                  <c:v>575625</c:v>
                </c:pt>
                <c:pt idx="81">
                  <c:v>561907</c:v>
                </c:pt>
                <c:pt idx="82">
                  <c:v>586645</c:v>
                </c:pt>
                <c:pt idx="83">
                  <c:v>610820</c:v>
                </c:pt>
                <c:pt idx="84">
                  <c:v>605606</c:v>
                </c:pt>
                <c:pt idx="85">
                  <c:v>608295</c:v>
                </c:pt>
                <c:pt idx="86">
                  <c:v>598295</c:v>
                </c:pt>
                <c:pt idx="87">
                  <c:v>614547</c:v>
                </c:pt>
                <c:pt idx="88">
                  <c:v>573590</c:v>
                </c:pt>
                <c:pt idx="89">
                  <c:v>576269</c:v>
                </c:pt>
                <c:pt idx="90">
                  <c:v>540650</c:v>
                </c:pt>
                <c:pt idx="91">
                  <c:v>592286</c:v>
                </c:pt>
                <c:pt idx="92">
                  <c:v>477483</c:v>
                </c:pt>
                <c:pt idx="93">
                  <c:v>465525</c:v>
                </c:pt>
                <c:pt idx="94">
                  <c:v>507952</c:v>
                </c:pt>
                <c:pt idx="95">
                  <c:v>572331</c:v>
                </c:pt>
                <c:pt idx="96">
                  <c:v>594233</c:v>
                </c:pt>
                <c:pt idx="97">
                  <c:v>515776</c:v>
                </c:pt>
                <c:pt idx="98">
                  <c:v>396735</c:v>
                </c:pt>
                <c:pt idx="99">
                  <c:v>330946</c:v>
                </c:pt>
                <c:pt idx="100">
                  <c:v>362280</c:v>
                </c:pt>
                <c:pt idx="101">
                  <c:v>391394</c:v>
                </c:pt>
                <c:pt idx="102">
                  <c:v>446170</c:v>
                </c:pt>
                <c:pt idx="103">
                  <c:v>411026</c:v>
                </c:pt>
                <c:pt idx="104">
                  <c:v>400337</c:v>
                </c:pt>
                <c:pt idx="105">
                  <c:v>374460</c:v>
                </c:pt>
                <c:pt idx="106">
                  <c:v>400925</c:v>
                </c:pt>
                <c:pt idx="107">
                  <c:v>36594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2713</c:v>
                </c:pt>
                <c:pt idx="1">
                  <c:v>712920</c:v>
                </c:pt>
                <c:pt idx="2">
                  <c:v>705903</c:v>
                </c:pt>
                <c:pt idx="3">
                  <c:v>657440</c:v>
                </c:pt>
                <c:pt idx="4">
                  <c:v>667179</c:v>
                </c:pt>
                <c:pt idx="5">
                  <c:v>694027</c:v>
                </c:pt>
                <c:pt idx="6">
                  <c:v>673244</c:v>
                </c:pt>
                <c:pt idx="7">
                  <c:v>748840</c:v>
                </c:pt>
                <c:pt idx="8">
                  <c:v>755584</c:v>
                </c:pt>
                <c:pt idx="9">
                  <c:v>705185</c:v>
                </c:pt>
                <c:pt idx="10">
                  <c:v>707986</c:v>
                </c:pt>
                <c:pt idx="11">
                  <c:v>724542</c:v>
                </c:pt>
                <c:pt idx="12">
                  <c:v>666560</c:v>
                </c:pt>
                <c:pt idx="13">
                  <c:v>734424</c:v>
                </c:pt>
                <c:pt idx="14">
                  <c:v>663550</c:v>
                </c:pt>
                <c:pt idx="15">
                  <c:v>747836</c:v>
                </c:pt>
                <c:pt idx="16">
                  <c:v>670225</c:v>
                </c:pt>
                <c:pt idx="17">
                  <c:v>707027</c:v>
                </c:pt>
                <c:pt idx="18">
                  <c:v>661825</c:v>
                </c:pt>
                <c:pt idx="19">
                  <c:v>656131</c:v>
                </c:pt>
                <c:pt idx="20">
                  <c:v>711069</c:v>
                </c:pt>
                <c:pt idx="21">
                  <c:v>729914</c:v>
                </c:pt>
                <c:pt idx="22">
                  <c:v>738300</c:v>
                </c:pt>
                <c:pt idx="23">
                  <c:v>713039</c:v>
                </c:pt>
                <c:pt idx="24">
                  <c:v>700849</c:v>
                </c:pt>
                <c:pt idx="25">
                  <c:v>717800</c:v>
                </c:pt>
                <c:pt idx="26">
                  <c:v>741781</c:v>
                </c:pt>
                <c:pt idx="27">
                  <c:v>726886</c:v>
                </c:pt>
                <c:pt idx="28">
                  <c:v>779419</c:v>
                </c:pt>
                <c:pt idx="29">
                  <c:v>724185</c:v>
                </c:pt>
                <c:pt idx="30">
                  <c:v>769118</c:v>
                </c:pt>
                <c:pt idx="31">
                  <c:v>734389</c:v>
                </c:pt>
                <c:pt idx="32">
                  <c:v>750734</c:v>
                </c:pt>
                <c:pt idx="33">
                  <c:v>730017</c:v>
                </c:pt>
                <c:pt idx="34">
                  <c:v>743365</c:v>
                </c:pt>
                <c:pt idx="35">
                  <c:v>733660</c:v>
                </c:pt>
                <c:pt idx="36">
                  <c:v>691594</c:v>
                </c:pt>
                <c:pt idx="37">
                  <c:v>676879</c:v>
                </c:pt>
                <c:pt idx="38">
                  <c:v>677671</c:v>
                </c:pt>
                <c:pt idx="39">
                  <c:v>718422</c:v>
                </c:pt>
                <c:pt idx="40">
                  <c:v>743195</c:v>
                </c:pt>
                <c:pt idx="41">
                  <c:v>752071</c:v>
                </c:pt>
                <c:pt idx="42">
                  <c:v>734820</c:v>
                </c:pt>
                <c:pt idx="43">
                  <c:v>764135</c:v>
                </c:pt>
                <c:pt idx="44">
                  <c:v>780591</c:v>
                </c:pt>
                <c:pt idx="45">
                  <c:v>773829</c:v>
                </c:pt>
                <c:pt idx="46">
                  <c:v>806522</c:v>
                </c:pt>
                <c:pt idx="47">
                  <c:v>860250</c:v>
                </c:pt>
                <c:pt idx="48">
                  <c:v>987877</c:v>
                </c:pt>
                <c:pt idx="49">
                  <c:v>1070209</c:v>
                </c:pt>
                <c:pt idx="50">
                  <c:v>1492541</c:v>
                </c:pt>
                <c:pt idx="51">
                  <c:v>1567448</c:v>
                </c:pt>
                <c:pt idx="52">
                  <c:v>640659</c:v>
                </c:pt>
                <c:pt idx="53">
                  <c:v>558758</c:v>
                </c:pt>
                <c:pt idx="54">
                  <c:v>563797</c:v>
                </c:pt>
                <c:pt idx="55">
                  <c:v>603173</c:v>
                </c:pt>
                <c:pt idx="56">
                  <c:v>630598</c:v>
                </c:pt>
                <c:pt idx="57">
                  <c:v>640393</c:v>
                </c:pt>
                <c:pt idx="58">
                  <c:v>604577</c:v>
                </c:pt>
                <c:pt idx="59">
                  <c:v>724051</c:v>
                </c:pt>
                <c:pt idx="60">
                  <c:v>677761</c:v>
                </c:pt>
                <c:pt idx="61">
                  <c:v>654186</c:v>
                </c:pt>
                <c:pt idx="62">
                  <c:v>618135</c:v>
                </c:pt>
                <c:pt idx="63">
                  <c:v>670074</c:v>
                </c:pt>
                <c:pt idx="64">
                  <c:v>649185</c:v>
                </c:pt>
                <c:pt idx="65">
                  <c:v>639597</c:v>
                </c:pt>
                <c:pt idx="66">
                  <c:v>616883</c:v>
                </c:pt>
                <c:pt idx="67">
                  <c:v>673399</c:v>
                </c:pt>
                <c:pt idx="68">
                  <c:v>609156</c:v>
                </c:pt>
                <c:pt idx="69">
                  <c:v>640031</c:v>
                </c:pt>
                <c:pt idx="70">
                  <c:v>625335</c:v>
                </c:pt>
                <c:pt idx="71">
                  <c:v>601280</c:v>
                </c:pt>
                <c:pt idx="72">
                  <c:v>668063</c:v>
                </c:pt>
                <c:pt idx="73">
                  <c:v>611445</c:v>
                </c:pt>
                <c:pt idx="74">
                  <c:v>660416</c:v>
                </c:pt>
                <c:pt idx="75">
                  <c:v>622688</c:v>
                </c:pt>
                <c:pt idx="76">
                  <c:v>622277</c:v>
                </c:pt>
                <c:pt idx="77">
                  <c:v>617448</c:v>
                </c:pt>
                <c:pt idx="78">
                  <c:v>669350</c:v>
                </c:pt>
                <c:pt idx="79">
                  <c:v>620726</c:v>
                </c:pt>
                <c:pt idx="80">
                  <c:v>628903</c:v>
                </c:pt>
                <c:pt idx="81">
                  <c:v>616691</c:v>
                </c:pt>
                <c:pt idx="82">
                  <c:v>639598</c:v>
                </c:pt>
                <c:pt idx="83">
                  <c:v>626246</c:v>
                </c:pt>
                <c:pt idx="84">
                  <c:v>619374</c:v>
                </c:pt>
                <c:pt idx="85">
                  <c:v>609866</c:v>
                </c:pt>
                <c:pt idx="86">
                  <c:v>607274</c:v>
                </c:pt>
                <c:pt idx="87">
                  <c:v>616342</c:v>
                </c:pt>
                <c:pt idx="88">
                  <c:v>575592</c:v>
                </c:pt>
                <c:pt idx="89">
                  <c:v>578034</c:v>
                </c:pt>
                <c:pt idx="90">
                  <c:v>568938</c:v>
                </c:pt>
                <c:pt idx="91">
                  <c:v>661610</c:v>
                </c:pt>
                <c:pt idx="92">
                  <c:v>610900</c:v>
                </c:pt>
                <c:pt idx="93">
                  <c:v>653060</c:v>
                </c:pt>
                <c:pt idx="94">
                  <c:v>640242</c:v>
                </c:pt>
                <c:pt idx="95">
                  <c:v>645382</c:v>
                </c:pt>
                <c:pt idx="96">
                  <c:v>687174</c:v>
                </c:pt>
                <c:pt idx="97">
                  <c:v>678671</c:v>
                </c:pt>
                <c:pt idx="98">
                  <c:v>690949</c:v>
                </c:pt>
                <c:pt idx="99">
                  <c:v>735900</c:v>
                </c:pt>
                <c:pt idx="100">
                  <c:v>848407</c:v>
                </c:pt>
                <c:pt idx="101">
                  <c:v>912822</c:v>
                </c:pt>
                <c:pt idx="102">
                  <c:v>1088440</c:v>
                </c:pt>
                <c:pt idx="103">
                  <c:v>1315065</c:v>
                </c:pt>
                <c:pt idx="104">
                  <c:v>577432</c:v>
                </c:pt>
                <c:pt idx="105">
                  <c:v>528242</c:v>
                </c:pt>
                <c:pt idx="106">
                  <c:v>552588</c:v>
                </c:pt>
                <c:pt idx="107">
                  <c:v>502625</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51397</c:v>
                </c:pt>
                <c:pt idx="1">
                  <c:v>652516</c:v>
                </c:pt>
                <c:pt idx="2">
                  <c:v>657933</c:v>
                </c:pt>
                <c:pt idx="3">
                  <c:v>659238</c:v>
                </c:pt>
                <c:pt idx="4">
                  <c:v>666366</c:v>
                </c:pt>
                <c:pt idx="5">
                  <c:v>675155</c:v>
                </c:pt>
                <c:pt idx="6">
                  <c:v>685254</c:v>
                </c:pt>
                <c:pt idx="7">
                  <c:v>700146</c:v>
                </c:pt>
                <c:pt idx="8">
                  <c:v>710837</c:v>
                </c:pt>
                <c:pt idx="9">
                  <c:v>712167</c:v>
                </c:pt>
                <c:pt idx="10">
                  <c:v>709578</c:v>
                </c:pt>
                <c:pt idx="11">
                  <c:v>707820</c:v>
                </c:pt>
                <c:pt idx="12">
                  <c:v>708068</c:v>
                </c:pt>
                <c:pt idx="13">
                  <c:v>699334</c:v>
                </c:pt>
                <c:pt idx="14">
                  <c:v>699989</c:v>
                </c:pt>
                <c:pt idx="15">
                  <c:v>695345</c:v>
                </c:pt>
                <c:pt idx="16">
                  <c:v>686651</c:v>
                </c:pt>
                <c:pt idx="17">
                  <c:v>691715</c:v>
                </c:pt>
                <c:pt idx="18">
                  <c:v>692229</c:v>
                </c:pt>
                <c:pt idx="19">
                  <c:v>701351</c:v>
                </c:pt>
                <c:pt idx="20">
                  <c:v>698799</c:v>
                </c:pt>
                <c:pt idx="21">
                  <c:v>702574</c:v>
                </c:pt>
                <c:pt idx="22">
                  <c:v>704338</c:v>
                </c:pt>
                <c:pt idx="23">
                  <c:v>714326</c:v>
                </c:pt>
                <c:pt idx="24">
                  <c:v>722611</c:v>
                </c:pt>
                <c:pt idx="25">
                  <c:v>730574</c:v>
                </c:pt>
                <c:pt idx="26">
                  <c:v>729468</c:v>
                </c:pt>
                <c:pt idx="27">
                  <c:v>732166</c:v>
                </c:pt>
                <c:pt idx="28">
                  <c:v>736680</c:v>
                </c:pt>
                <c:pt idx="29">
                  <c:v>741857</c:v>
                </c:pt>
                <c:pt idx="30">
                  <c:v>743875</c:v>
                </c:pt>
                <c:pt idx="31">
                  <c:v>745721</c:v>
                </c:pt>
                <c:pt idx="32">
                  <c:v>747569</c:v>
                </c:pt>
                <c:pt idx="33">
                  <c:v>735512</c:v>
                </c:pt>
                <c:pt idx="34">
                  <c:v>742145</c:v>
                </c:pt>
                <c:pt idx="35">
                  <c:v>734840</c:v>
                </c:pt>
                <c:pt idx="36">
                  <c:v>731731</c:v>
                </c:pt>
                <c:pt idx="37">
                  <c:v>724420</c:v>
                </c:pt>
                <c:pt idx="38">
                  <c:v>721969</c:v>
                </c:pt>
                <c:pt idx="39">
                  <c:v>719373</c:v>
                </c:pt>
                <c:pt idx="40">
                  <c:v>760150</c:v>
                </c:pt>
                <c:pt idx="41">
                  <c:v>778514</c:v>
                </c:pt>
                <c:pt idx="42">
                  <c:v>751839</c:v>
                </c:pt>
                <c:pt idx="43">
                  <c:v>732354</c:v>
                </c:pt>
                <c:pt idx="44">
                  <c:v>741709</c:v>
                </c:pt>
                <c:pt idx="45">
                  <c:v>767362</c:v>
                </c:pt>
                <c:pt idx="46">
                  <c:v>775184</c:v>
                </c:pt>
                <c:pt idx="47">
                  <c:v>783225</c:v>
                </c:pt>
                <c:pt idx="48">
                  <c:v>766902</c:v>
                </c:pt>
                <c:pt idx="49">
                  <c:v>749516</c:v>
                </c:pt>
                <c:pt idx="50">
                  <c:v>735380</c:v>
                </c:pt>
                <c:pt idx="51">
                  <c:v>783804</c:v>
                </c:pt>
                <c:pt idx="52">
                  <c:v>728139</c:v>
                </c:pt>
                <c:pt idx="53">
                  <c:v>672836</c:v>
                </c:pt>
                <c:pt idx="54">
                  <c:v>619060</c:v>
                </c:pt>
                <c:pt idx="55">
                  <c:v>582559</c:v>
                </c:pt>
                <c:pt idx="56">
                  <c:v>600830</c:v>
                </c:pt>
                <c:pt idx="57">
                  <c:v>627199</c:v>
                </c:pt>
                <c:pt idx="58">
                  <c:v>633544</c:v>
                </c:pt>
                <c:pt idx="59">
                  <c:v>643027</c:v>
                </c:pt>
                <c:pt idx="60">
                  <c:v>654269</c:v>
                </c:pt>
                <c:pt idx="61">
                  <c:v>655675</c:v>
                </c:pt>
                <c:pt idx="62">
                  <c:v>655246</c:v>
                </c:pt>
                <c:pt idx="63">
                  <c:v>655162</c:v>
                </c:pt>
                <c:pt idx="64">
                  <c:v>650185</c:v>
                </c:pt>
                <c:pt idx="65">
                  <c:v>643642</c:v>
                </c:pt>
                <c:pt idx="66">
                  <c:v>641091</c:v>
                </c:pt>
                <c:pt idx="67">
                  <c:v>638036</c:v>
                </c:pt>
                <c:pt idx="68">
                  <c:v>626117</c:v>
                </c:pt>
                <c:pt idx="69">
                  <c:v>629069</c:v>
                </c:pt>
                <c:pt idx="70">
                  <c:v>626447</c:v>
                </c:pt>
                <c:pt idx="71">
                  <c:v>631369</c:v>
                </c:pt>
                <c:pt idx="72">
                  <c:v>629882</c:v>
                </c:pt>
                <c:pt idx="73">
                  <c:v>629889</c:v>
                </c:pt>
                <c:pt idx="74">
                  <c:v>627617</c:v>
                </c:pt>
                <c:pt idx="75">
                  <c:v>633696</c:v>
                </c:pt>
                <c:pt idx="76">
                  <c:v>635980</c:v>
                </c:pt>
                <c:pt idx="77">
                  <c:v>631960</c:v>
                </c:pt>
                <c:pt idx="78">
                  <c:v>632536</c:v>
                </c:pt>
                <c:pt idx="79">
                  <c:v>629480</c:v>
                </c:pt>
                <c:pt idx="80">
                  <c:v>629999</c:v>
                </c:pt>
                <c:pt idx="81">
                  <c:v>629146</c:v>
                </c:pt>
                <c:pt idx="82">
                  <c:v>629423</c:v>
                </c:pt>
                <c:pt idx="83">
                  <c:v>621074</c:v>
                </c:pt>
                <c:pt idx="84">
                  <c:v>620551</c:v>
                </c:pt>
                <c:pt idx="85">
                  <c:v>614180</c:v>
                </c:pt>
                <c:pt idx="86">
                  <c:v>609234</c:v>
                </c:pt>
                <c:pt idx="87">
                  <c:v>600611</c:v>
                </c:pt>
                <c:pt idx="88">
                  <c:v>604403</c:v>
                </c:pt>
                <c:pt idx="89">
                  <c:v>601222</c:v>
                </c:pt>
                <c:pt idx="90">
                  <c:v>599614</c:v>
                </c:pt>
                <c:pt idx="91">
                  <c:v>596983</c:v>
                </c:pt>
                <c:pt idx="92">
                  <c:v>603413</c:v>
                </c:pt>
                <c:pt idx="93">
                  <c:v>642096</c:v>
                </c:pt>
                <c:pt idx="94">
                  <c:v>653356</c:v>
                </c:pt>
                <c:pt idx="95">
                  <c:v>664341</c:v>
                </c:pt>
                <c:pt idx="96">
                  <c:v>668589</c:v>
                </c:pt>
                <c:pt idx="97">
                  <c:v>679054</c:v>
                </c:pt>
                <c:pt idx="98">
                  <c:v>688837</c:v>
                </c:pt>
                <c:pt idx="99">
                  <c:v>688432</c:v>
                </c:pt>
                <c:pt idx="100">
                  <c:v>698884</c:v>
                </c:pt>
                <c:pt idx="101">
                  <c:v>696475</c:v>
                </c:pt>
                <c:pt idx="102">
                  <c:v>693492</c:v>
                </c:pt>
                <c:pt idx="103">
                  <c:v>690715</c:v>
                </c:pt>
                <c:pt idx="104">
                  <c:v>605388</c:v>
                </c:pt>
                <c:pt idx="105">
                  <c:v>560884</c:v>
                </c:pt>
                <c:pt idx="106">
                  <c:v>586731</c:v>
                </c:pt>
                <c:pt idx="107">
                  <c:v>56516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01</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79</c:v>
                </c:pt>
                <c:pt idx="37">
                  <c:v>0.79</c:v>
                </c:pt>
                <c:pt idx="38">
                  <c:v>0.78</c:v>
                </c:pt>
                <c:pt idx="39">
                  <c:v>0.79</c:v>
                </c:pt>
                <c:pt idx="40">
                  <c:v>0.81</c:v>
                </c:pt>
                <c:pt idx="41">
                  <c:v>0.8</c:v>
                </c:pt>
                <c:pt idx="42">
                  <c:v>0.79</c:v>
                </c:pt>
                <c:pt idx="43">
                  <c:v>0.09</c:v>
                </c:pt>
                <c:pt idx="44">
                  <c:v>0.08</c:v>
                </c:pt>
                <c:pt idx="45">
                  <c:v>0.11</c:v>
                </c:pt>
                <c:pt idx="46">
                  <c:v>0.17</c:v>
                </c:pt>
                <c:pt idx="47">
                  <c:v>0.17</c:v>
                </c:pt>
                <c:pt idx="48">
                  <c:v>0.26</c:v>
                </c:pt>
                <c:pt idx="49">
                  <c:v>0.28999999999999998</c:v>
                </c:pt>
                <c:pt idx="50">
                  <c:v>0.38</c:v>
                </c:pt>
                <c:pt idx="51">
                  <c:v>0.6</c:v>
                </c:pt>
                <c:pt idx="52">
                  <c:v>0.1</c:v>
                </c:pt>
                <c:pt idx="53">
                  <c:v>0.11</c:v>
                </c:pt>
                <c:pt idx="54">
                  <c:v>0.06</c:v>
                </c:pt>
                <c:pt idx="55">
                  <c:v>0.03</c:v>
                </c:pt>
                <c:pt idx="56">
                  <c:v>0.05</c:v>
                </c:pt>
                <c:pt idx="57">
                  <c:v>0.08</c:v>
                </c:pt>
                <c:pt idx="58">
                  <c:v>0.17</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4887</c:v>
                </c:pt>
                <c:pt idx="1">
                  <c:v>88325</c:v>
                </c:pt>
                <c:pt idx="2">
                  <c:v>89322</c:v>
                </c:pt>
                <c:pt idx="3">
                  <c:v>59592</c:v>
                </c:pt>
                <c:pt idx="4">
                  <c:v>45985</c:v>
                </c:pt>
                <c:pt idx="5">
                  <c:v>63369</c:v>
                </c:pt>
                <c:pt idx="6">
                  <c:v>73309</c:v>
                </c:pt>
                <c:pt idx="7">
                  <c:v>128560</c:v>
                </c:pt>
                <c:pt idx="8">
                  <c:v>91762</c:v>
                </c:pt>
                <c:pt idx="9">
                  <c:v>91581</c:v>
                </c:pt>
                <c:pt idx="10">
                  <c:v>106666</c:v>
                </c:pt>
                <c:pt idx="11">
                  <c:v>114310</c:v>
                </c:pt>
                <c:pt idx="12">
                  <c:v>31424</c:v>
                </c:pt>
                <c:pt idx="13">
                  <c:v>68736</c:v>
                </c:pt>
                <c:pt idx="14">
                  <c:v>94095</c:v>
                </c:pt>
                <c:pt idx="15">
                  <c:v>121812</c:v>
                </c:pt>
                <c:pt idx="16">
                  <c:v>38957</c:v>
                </c:pt>
                <c:pt idx="17">
                  <c:v>9496</c:v>
                </c:pt>
                <c:pt idx="18">
                  <c:v>5832</c:v>
                </c:pt>
                <c:pt idx="19">
                  <c:v>4267</c:v>
                </c:pt>
                <c:pt idx="20">
                  <c:v>4756</c:v>
                </c:pt>
                <c:pt idx="21">
                  <c:v>3469</c:v>
                </c:pt>
                <c:pt idx="22">
                  <c:v>2581</c:v>
                </c:pt>
                <c:pt idx="23">
                  <c:v>1622</c:v>
                </c:pt>
                <c:pt idx="24">
                  <c:v>3609</c:v>
                </c:pt>
                <c:pt idx="25">
                  <c:v>4457</c:v>
                </c:pt>
                <c:pt idx="26">
                  <c:v>1354</c:v>
                </c:pt>
                <c:pt idx="27">
                  <c:v>68915</c:v>
                </c:pt>
                <c:pt idx="28">
                  <c:v>145023</c:v>
                </c:pt>
                <c:pt idx="29">
                  <c:v>40635</c:v>
                </c:pt>
                <c:pt idx="30">
                  <c:v>36175</c:v>
                </c:pt>
                <c:pt idx="31">
                  <c:v>197993</c:v>
                </c:pt>
                <c:pt idx="32">
                  <c:v>417496</c:v>
                </c:pt>
                <c:pt idx="33">
                  <c:v>425979</c:v>
                </c:pt>
                <c:pt idx="34">
                  <c:v>431490</c:v>
                </c:pt>
                <c:pt idx="35">
                  <c:v>404046</c:v>
                </c:pt>
                <c:pt idx="36">
                  <c:v>371595</c:v>
                </c:pt>
                <c:pt idx="37">
                  <c:v>363183</c:v>
                </c:pt>
                <c:pt idx="38">
                  <c:v>368295</c:v>
                </c:pt>
                <c:pt idx="39">
                  <c:v>402877</c:v>
                </c:pt>
                <c:pt idx="40">
                  <c:v>452050</c:v>
                </c:pt>
                <c:pt idx="41">
                  <c:v>455627</c:v>
                </c:pt>
                <c:pt idx="42">
                  <c:v>432227</c:v>
                </c:pt>
                <c:pt idx="43">
                  <c:v>109570</c:v>
                </c:pt>
                <c:pt idx="44">
                  <c:v>92929</c:v>
                </c:pt>
                <c:pt idx="45">
                  <c:v>111800</c:v>
                </c:pt>
                <c:pt idx="46">
                  <c:v>173588</c:v>
                </c:pt>
                <c:pt idx="47">
                  <c:v>190142</c:v>
                </c:pt>
                <c:pt idx="48">
                  <c:v>285756</c:v>
                </c:pt>
                <c:pt idx="49">
                  <c:v>347454</c:v>
                </c:pt>
                <c:pt idx="50">
                  <c:v>588849</c:v>
                </c:pt>
                <c:pt idx="51">
                  <c:v>619477</c:v>
                </c:pt>
                <c:pt idx="52">
                  <c:v>22478</c:v>
                </c:pt>
                <c:pt idx="53">
                  <c:v>46048</c:v>
                </c:pt>
                <c:pt idx="54">
                  <c:v>22951</c:v>
                </c:pt>
                <c:pt idx="55">
                  <c:v>11239</c:v>
                </c:pt>
                <c:pt idx="56">
                  <c:v>40758</c:v>
                </c:pt>
                <c:pt idx="57">
                  <c:v>73442</c:v>
                </c:pt>
                <c:pt idx="58">
                  <c:v>123274</c:v>
                </c:pt>
                <c:pt idx="59">
                  <c:v>254506</c:v>
                </c:pt>
                <c:pt idx="60">
                  <c:v>165008</c:v>
                </c:pt>
                <c:pt idx="61">
                  <c:v>116548</c:v>
                </c:pt>
                <c:pt idx="62">
                  <c:v>94911</c:v>
                </c:pt>
                <c:pt idx="63">
                  <c:v>191597</c:v>
                </c:pt>
                <c:pt idx="64">
                  <c:v>136729</c:v>
                </c:pt>
                <c:pt idx="65">
                  <c:v>126928</c:v>
                </c:pt>
                <c:pt idx="66">
                  <c:v>132441</c:v>
                </c:pt>
                <c:pt idx="67">
                  <c:v>184920</c:v>
                </c:pt>
                <c:pt idx="68">
                  <c:v>120792</c:v>
                </c:pt>
                <c:pt idx="69">
                  <c:v>123232</c:v>
                </c:pt>
                <c:pt idx="70">
                  <c:v>111693</c:v>
                </c:pt>
                <c:pt idx="71">
                  <c:v>119126</c:v>
                </c:pt>
                <c:pt idx="72">
                  <c:v>121233</c:v>
                </c:pt>
                <c:pt idx="73">
                  <c:v>1146</c:v>
                </c:pt>
                <c:pt idx="74">
                  <c:v>1941</c:v>
                </c:pt>
                <c:pt idx="75">
                  <c:v>1636</c:v>
                </c:pt>
                <c:pt idx="76">
                  <c:v>3440</c:v>
                </c:pt>
                <c:pt idx="77">
                  <c:v>1163</c:v>
                </c:pt>
                <c:pt idx="78">
                  <c:v>3053</c:v>
                </c:pt>
                <c:pt idx="79">
                  <c:v>28894</c:v>
                </c:pt>
                <c:pt idx="80">
                  <c:v>53244</c:v>
                </c:pt>
                <c:pt idx="81">
                  <c:v>54768</c:v>
                </c:pt>
                <c:pt idx="82">
                  <c:v>52939</c:v>
                </c:pt>
                <c:pt idx="83">
                  <c:v>15422</c:v>
                </c:pt>
                <c:pt idx="84">
                  <c:v>13768</c:v>
                </c:pt>
                <c:pt idx="85">
                  <c:v>1571</c:v>
                </c:pt>
                <c:pt idx="86">
                  <c:v>8979</c:v>
                </c:pt>
                <c:pt idx="87">
                  <c:v>1787</c:v>
                </c:pt>
                <c:pt idx="88">
                  <c:v>1979</c:v>
                </c:pt>
                <c:pt idx="89">
                  <c:v>1757</c:v>
                </c:pt>
                <c:pt idx="90">
                  <c:v>28269</c:v>
                </c:pt>
                <c:pt idx="91">
                  <c:v>69306</c:v>
                </c:pt>
                <c:pt idx="92">
                  <c:v>133393</c:v>
                </c:pt>
                <c:pt idx="93">
                  <c:v>187532</c:v>
                </c:pt>
                <c:pt idx="94">
                  <c:v>132265</c:v>
                </c:pt>
                <c:pt idx="95">
                  <c:v>73051</c:v>
                </c:pt>
                <c:pt idx="96">
                  <c:v>92917</c:v>
                </c:pt>
                <c:pt idx="97">
                  <c:v>162888</c:v>
                </c:pt>
                <c:pt idx="98">
                  <c:v>294214</c:v>
                </c:pt>
                <c:pt idx="99">
                  <c:v>404954</c:v>
                </c:pt>
                <c:pt idx="100">
                  <c:v>486127</c:v>
                </c:pt>
                <c:pt idx="101">
                  <c:v>521417</c:v>
                </c:pt>
                <c:pt idx="102">
                  <c:v>642249</c:v>
                </c:pt>
                <c:pt idx="103">
                  <c:v>904039</c:v>
                </c:pt>
                <c:pt idx="104">
                  <c:v>177058</c:v>
                </c:pt>
                <c:pt idx="105">
                  <c:v>153752</c:v>
                </c:pt>
                <c:pt idx="106">
                  <c:v>151608</c:v>
                </c:pt>
                <c:pt idx="107">
                  <c:v>13660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6766</c:v>
                </c:pt>
                <c:pt idx="1">
                  <c:v>621705</c:v>
                </c:pt>
                <c:pt idx="2">
                  <c:v>610980</c:v>
                </c:pt>
                <c:pt idx="3">
                  <c:v>587925</c:v>
                </c:pt>
                <c:pt idx="4">
                  <c:v>610084</c:v>
                </c:pt>
                <c:pt idx="5">
                  <c:v>618129</c:v>
                </c:pt>
                <c:pt idx="6">
                  <c:v>588858</c:v>
                </c:pt>
                <c:pt idx="7">
                  <c:v>607789</c:v>
                </c:pt>
                <c:pt idx="8">
                  <c:v>649406</c:v>
                </c:pt>
                <c:pt idx="9">
                  <c:v>601290</c:v>
                </c:pt>
                <c:pt idx="10">
                  <c:v>589178</c:v>
                </c:pt>
                <c:pt idx="11">
                  <c:v>598106</c:v>
                </c:pt>
                <c:pt idx="12">
                  <c:v>621773</c:v>
                </c:pt>
                <c:pt idx="13">
                  <c:v>650118</c:v>
                </c:pt>
                <c:pt idx="14">
                  <c:v>553651</c:v>
                </c:pt>
                <c:pt idx="15">
                  <c:v>610655</c:v>
                </c:pt>
                <c:pt idx="16">
                  <c:v>616402</c:v>
                </c:pt>
                <c:pt idx="17">
                  <c:v>681321</c:v>
                </c:pt>
                <c:pt idx="18">
                  <c:v>641213</c:v>
                </c:pt>
                <c:pt idx="19">
                  <c:v>637139</c:v>
                </c:pt>
                <c:pt idx="20">
                  <c:v>690797</c:v>
                </c:pt>
                <c:pt idx="21">
                  <c:v>711570</c:v>
                </c:pt>
                <c:pt idx="22">
                  <c:v>719989</c:v>
                </c:pt>
                <c:pt idx="23">
                  <c:v>695446</c:v>
                </c:pt>
                <c:pt idx="24">
                  <c:v>680424</c:v>
                </c:pt>
                <c:pt idx="25">
                  <c:v>698011</c:v>
                </c:pt>
                <c:pt idx="26">
                  <c:v>723940</c:v>
                </c:pt>
                <c:pt idx="27">
                  <c:v>642371</c:v>
                </c:pt>
                <c:pt idx="28">
                  <c:v>618005</c:v>
                </c:pt>
                <c:pt idx="29">
                  <c:v>668042</c:v>
                </c:pt>
                <c:pt idx="30">
                  <c:v>716564</c:v>
                </c:pt>
                <c:pt idx="31">
                  <c:v>520388</c:v>
                </c:pt>
                <c:pt idx="32">
                  <c:v>316209</c:v>
                </c:pt>
                <c:pt idx="33">
                  <c:v>287762</c:v>
                </c:pt>
                <c:pt idx="34">
                  <c:v>296424</c:v>
                </c:pt>
                <c:pt idx="35">
                  <c:v>315252</c:v>
                </c:pt>
                <c:pt idx="36">
                  <c:v>305756</c:v>
                </c:pt>
                <c:pt idx="37">
                  <c:v>299212</c:v>
                </c:pt>
                <c:pt idx="38">
                  <c:v>295075</c:v>
                </c:pt>
                <c:pt idx="39">
                  <c:v>300768</c:v>
                </c:pt>
                <c:pt idx="40">
                  <c:v>271068</c:v>
                </c:pt>
                <c:pt idx="41">
                  <c:v>272350</c:v>
                </c:pt>
                <c:pt idx="42">
                  <c:v>277988</c:v>
                </c:pt>
                <c:pt idx="43">
                  <c:v>628455</c:v>
                </c:pt>
                <c:pt idx="44">
                  <c:v>657886</c:v>
                </c:pt>
                <c:pt idx="45">
                  <c:v>629083</c:v>
                </c:pt>
                <c:pt idx="46">
                  <c:v>583973</c:v>
                </c:pt>
                <c:pt idx="47">
                  <c:v>622282</c:v>
                </c:pt>
                <c:pt idx="48">
                  <c:v>635226</c:v>
                </c:pt>
                <c:pt idx="49">
                  <c:v>623274</c:v>
                </c:pt>
                <c:pt idx="50">
                  <c:v>673706</c:v>
                </c:pt>
                <c:pt idx="51">
                  <c:v>499243</c:v>
                </c:pt>
                <c:pt idx="52">
                  <c:v>551895</c:v>
                </c:pt>
                <c:pt idx="53">
                  <c:v>500677</c:v>
                </c:pt>
                <c:pt idx="54">
                  <c:v>534065</c:v>
                </c:pt>
                <c:pt idx="55">
                  <c:v>587107</c:v>
                </c:pt>
                <c:pt idx="56">
                  <c:v>587613</c:v>
                </c:pt>
                <c:pt idx="57">
                  <c:v>565257</c:v>
                </c:pt>
                <c:pt idx="58">
                  <c:v>480333</c:v>
                </c:pt>
                <c:pt idx="59">
                  <c:v>468627</c:v>
                </c:pt>
                <c:pt idx="60">
                  <c:v>511941</c:v>
                </c:pt>
                <c:pt idx="61">
                  <c:v>537177</c:v>
                </c:pt>
                <c:pt idx="62">
                  <c:v>522787</c:v>
                </c:pt>
                <c:pt idx="63">
                  <c:v>477986</c:v>
                </c:pt>
                <c:pt idx="64">
                  <c:v>512094</c:v>
                </c:pt>
                <c:pt idx="65">
                  <c:v>512537</c:v>
                </c:pt>
                <c:pt idx="66">
                  <c:v>484247</c:v>
                </c:pt>
                <c:pt idx="67">
                  <c:v>488318</c:v>
                </c:pt>
                <c:pt idx="68">
                  <c:v>488224</c:v>
                </c:pt>
                <c:pt idx="69">
                  <c:v>516622</c:v>
                </c:pt>
                <c:pt idx="70">
                  <c:v>513517</c:v>
                </c:pt>
                <c:pt idx="71">
                  <c:v>482039</c:v>
                </c:pt>
                <c:pt idx="72">
                  <c:v>546661</c:v>
                </c:pt>
                <c:pt idx="73">
                  <c:v>610194</c:v>
                </c:pt>
                <c:pt idx="74">
                  <c:v>658376</c:v>
                </c:pt>
                <c:pt idx="75">
                  <c:v>620936</c:v>
                </c:pt>
                <c:pt idx="76">
                  <c:v>618776</c:v>
                </c:pt>
                <c:pt idx="77">
                  <c:v>616212</c:v>
                </c:pt>
                <c:pt idx="78">
                  <c:v>666232</c:v>
                </c:pt>
                <c:pt idx="79">
                  <c:v>591752</c:v>
                </c:pt>
                <c:pt idx="80">
                  <c:v>575596</c:v>
                </c:pt>
                <c:pt idx="81">
                  <c:v>561891</c:v>
                </c:pt>
                <c:pt idx="82">
                  <c:v>586620</c:v>
                </c:pt>
                <c:pt idx="83">
                  <c:v>610780</c:v>
                </c:pt>
                <c:pt idx="84">
                  <c:v>605599</c:v>
                </c:pt>
                <c:pt idx="85">
                  <c:v>608238</c:v>
                </c:pt>
                <c:pt idx="86">
                  <c:v>598287</c:v>
                </c:pt>
                <c:pt idx="87">
                  <c:v>614485</c:v>
                </c:pt>
                <c:pt idx="88">
                  <c:v>573532</c:v>
                </c:pt>
                <c:pt idx="89">
                  <c:v>576262</c:v>
                </c:pt>
                <c:pt idx="90">
                  <c:v>540592</c:v>
                </c:pt>
                <c:pt idx="91">
                  <c:v>592284</c:v>
                </c:pt>
                <c:pt idx="92">
                  <c:v>477479</c:v>
                </c:pt>
                <c:pt idx="93">
                  <c:v>465499</c:v>
                </c:pt>
                <c:pt idx="94">
                  <c:v>507940</c:v>
                </c:pt>
                <c:pt idx="95">
                  <c:v>572316</c:v>
                </c:pt>
                <c:pt idx="96">
                  <c:v>594214</c:v>
                </c:pt>
                <c:pt idx="97">
                  <c:v>515734</c:v>
                </c:pt>
                <c:pt idx="98">
                  <c:v>396720</c:v>
                </c:pt>
                <c:pt idx="99">
                  <c:v>330944</c:v>
                </c:pt>
                <c:pt idx="100">
                  <c:v>362273</c:v>
                </c:pt>
                <c:pt idx="101">
                  <c:v>391348</c:v>
                </c:pt>
                <c:pt idx="102">
                  <c:v>446137</c:v>
                </c:pt>
                <c:pt idx="103">
                  <c:v>410877</c:v>
                </c:pt>
                <c:pt idx="104">
                  <c:v>399989</c:v>
                </c:pt>
                <c:pt idx="105">
                  <c:v>373381</c:v>
                </c:pt>
                <c:pt idx="106">
                  <c:v>395564</c:v>
                </c:pt>
                <c:pt idx="107">
                  <c:v>35683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1653</c:v>
                </c:pt>
                <c:pt idx="1">
                  <c:v>710030</c:v>
                </c:pt>
                <c:pt idx="2">
                  <c:v>700302</c:v>
                </c:pt>
                <c:pt idx="3">
                  <c:v>647517</c:v>
                </c:pt>
                <c:pt idx="4">
                  <c:v>656069</c:v>
                </c:pt>
                <c:pt idx="5">
                  <c:v>681498</c:v>
                </c:pt>
                <c:pt idx="6">
                  <c:v>662167</c:v>
                </c:pt>
                <c:pt idx="7">
                  <c:v>736349</c:v>
                </c:pt>
                <c:pt idx="8">
                  <c:v>741168</c:v>
                </c:pt>
                <c:pt idx="9">
                  <c:v>692871</c:v>
                </c:pt>
                <c:pt idx="10">
                  <c:v>695844</c:v>
                </c:pt>
                <c:pt idx="11">
                  <c:v>712416</c:v>
                </c:pt>
                <c:pt idx="12">
                  <c:v>653197</c:v>
                </c:pt>
                <c:pt idx="13">
                  <c:v>718854</c:v>
                </c:pt>
                <c:pt idx="14">
                  <c:v>647746</c:v>
                </c:pt>
                <c:pt idx="15">
                  <c:v>732467</c:v>
                </c:pt>
                <c:pt idx="16">
                  <c:v>655359</c:v>
                </c:pt>
                <c:pt idx="17">
                  <c:v>690817</c:v>
                </c:pt>
                <c:pt idx="18">
                  <c:v>647045</c:v>
                </c:pt>
                <c:pt idx="19">
                  <c:v>641406</c:v>
                </c:pt>
                <c:pt idx="20">
                  <c:v>695553</c:v>
                </c:pt>
                <c:pt idx="21">
                  <c:v>715039</c:v>
                </c:pt>
                <c:pt idx="22">
                  <c:v>722570</c:v>
                </c:pt>
                <c:pt idx="23">
                  <c:v>697068</c:v>
                </c:pt>
                <c:pt idx="24">
                  <c:v>684033</c:v>
                </c:pt>
                <c:pt idx="25">
                  <c:v>702468</c:v>
                </c:pt>
                <c:pt idx="26">
                  <c:v>725294</c:v>
                </c:pt>
                <c:pt idx="27">
                  <c:v>711286</c:v>
                </c:pt>
                <c:pt idx="28">
                  <c:v>763028</c:v>
                </c:pt>
                <c:pt idx="29">
                  <c:v>708677</c:v>
                </c:pt>
                <c:pt idx="30">
                  <c:v>752739</c:v>
                </c:pt>
                <c:pt idx="31">
                  <c:v>718381</c:v>
                </c:pt>
                <c:pt idx="32">
                  <c:v>733705</c:v>
                </c:pt>
                <c:pt idx="33">
                  <c:v>713741</c:v>
                </c:pt>
                <c:pt idx="34">
                  <c:v>727914</c:v>
                </c:pt>
                <c:pt idx="35">
                  <c:v>719298</c:v>
                </c:pt>
                <c:pt idx="36">
                  <c:v>677351</c:v>
                </c:pt>
                <c:pt idx="37">
                  <c:v>662395</c:v>
                </c:pt>
                <c:pt idx="38">
                  <c:v>663370</c:v>
                </c:pt>
                <c:pt idx="39">
                  <c:v>703645</c:v>
                </c:pt>
                <c:pt idx="40">
                  <c:v>723118</c:v>
                </c:pt>
                <c:pt idx="41">
                  <c:v>727977</c:v>
                </c:pt>
                <c:pt idx="42">
                  <c:v>710215</c:v>
                </c:pt>
                <c:pt idx="43">
                  <c:v>738025</c:v>
                </c:pt>
                <c:pt idx="44">
                  <c:v>750815</c:v>
                </c:pt>
                <c:pt idx="45">
                  <c:v>740883</c:v>
                </c:pt>
                <c:pt idx="46">
                  <c:v>757561</c:v>
                </c:pt>
                <c:pt idx="47">
                  <c:v>812424</c:v>
                </c:pt>
                <c:pt idx="48">
                  <c:v>920982</c:v>
                </c:pt>
                <c:pt idx="49">
                  <c:v>970728</c:v>
                </c:pt>
                <c:pt idx="50">
                  <c:v>1262555</c:v>
                </c:pt>
                <c:pt idx="51">
                  <c:v>1118720</c:v>
                </c:pt>
                <c:pt idx="52">
                  <c:v>574373</c:v>
                </c:pt>
                <c:pt idx="53">
                  <c:v>546725</c:v>
                </c:pt>
                <c:pt idx="54">
                  <c:v>557016</c:v>
                </c:pt>
                <c:pt idx="55">
                  <c:v>598346</c:v>
                </c:pt>
                <c:pt idx="56">
                  <c:v>628371</c:v>
                </c:pt>
                <c:pt idx="57">
                  <c:v>638699</c:v>
                </c:pt>
                <c:pt idx="58">
                  <c:v>603607</c:v>
                </c:pt>
                <c:pt idx="59">
                  <c:v>723133</c:v>
                </c:pt>
                <c:pt idx="60">
                  <c:v>676949</c:v>
                </c:pt>
                <c:pt idx="61">
                  <c:v>653725</c:v>
                </c:pt>
                <c:pt idx="62">
                  <c:v>617698</c:v>
                </c:pt>
                <c:pt idx="63">
                  <c:v>669583</c:v>
                </c:pt>
                <c:pt idx="64">
                  <c:v>648823</c:v>
                </c:pt>
                <c:pt idx="65">
                  <c:v>639465</c:v>
                </c:pt>
                <c:pt idx="66">
                  <c:v>616688</c:v>
                </c:pt>
                <c:pt idx="67">
                  <c:v>673238</c:v>
                </c:pt>
                <c:pt idx="68">
                  <c:v>609016</c:v>
                </c:pt>
                <c:pt idx="69">
                  <c:v>639854</c:v>
                </c:pt>
                <c:pt idx="70">
                  <c:v>625210</c:v>
                </c:pt>
                <c:pt idx="71">
                  <c:v>601165</c:v>
                </c:pt>
                <c:pt idx="72">
                  <c:v>667894</c:v>
                </c:pt>
                <c:pt idx="73">
                  <c:v>611340</c:v>
                </c:pt>
                <c:pt idx="74">
                  <c:v>660317</c:v>
                </c:pt>
                <c:pt idx="75">
                  <c:v>622572</c:v>
                </c:pt>
                <c:pt idx="76">
                  <c:v>622216</c:v>
                </c:pt>
                <c:pt idx="77">
                  <c:v>617375</c:v>
                </c:pt>
                <c:pt idx="78">
                  <c:v>669285</c:v>
                </c:pt>
                <c:pt idx="79">
                  <c:v>620646</c:v>
                </c:pt>
                <c:pt idx="80">
                  <c:v>628840</c:v>
                </c:pt>
                <c:pt idx="81">
                  <c:v>616659</c:v>
                </c:pt>
                <c:pt idx="82">
                  <c:v>639559</c:v>
                </c:pt>
                <c:pt idx="83">
                  <c:v>626202</c:v>
                </c:pt>
                <c:pt idx="84">
                  <c:v>619367</c:v>
                </c:pt>
                <c:pt idx="85">
                  <c:v>609809</c:v>
                </c:pt>
                <c:pt idx="86">
                  <c:v>607266</c:v>
                </c:pt>
                <c:pt idx="87">
                  <c:v>616272</c:v>
                </c:pt>
                <c:pt idx="88">
                  <c:v>575511</c:v>
                </c:pt>
                <c:pt idx="89">
                  <c:v>578019</c:v>
                </c:pt>
                <c:pt idx="90">
                  <c:v>568861</c:v>
                </c:pt>
                <c:pt idx="91">
                  <c:v>661590</c:v>
                </c:pt>
                <c:pt idx="92">
                  <c:v>610872</c:v>
                </c:pt>
                <c:pt idx="93">
                  <c:v>653031</c:v>
                </c:pt>
                <c:pt idx="94">
                  <c:v>640205</c:v>
                </c:pt>
                <c:pt idx="95">
                  <c:v>645367</c:v>
                </c:pt>
                <c:pt idx="96">
                  <c:v>687131</c:v>
                </c:pt>
                <c:pt idx="97">
                  <c:v>678622</c:v>
                </c:pt>
                <c:pt idx="98">
                  <c:v>690934</c:v>
                </c:pt>
                <c:pt idx="99">
                  <c:v>735898</c:v>
                </c:pt>
                <c:pt idx="100">
                  <c:v>848400</c:v>
                </c:pt>
                <c:pt idx="101">
                  <c:v>912765</c:v>
                </c:pt>
                <c:pt idx="102">
                  <c:v>1088386</c:v>
                </c:pt>
                <c:pt idx="103">
                  <c:v>1314916</c:v>
                </c:pt>
                <c:pt idx="104">
                  <c:v>577047</c:v>
                </c:pt>
                <c:pt idx="105">
                  <c:v>527133</c:v>
                </c:pt>
                <c:pt idx="106">
                  <c:v>547172</c:v>
                </c:pt>
                <c:pt idx="107">
                  <c:v>493441</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46938</c:v>
                </c:pt>
                <c:pt idx="1">
                  <c:v>646524</c:v>
                </c:pt>
                <c:pt idx="2">
                  <c:v>650739</c:v>
                </c:pt>
                <c:pt idx="3">
                  <c:v>651421</c:v>
                </c:pt>
                <c:pt idx="4">
                  <c:v>657901</c:v>
                </c:pt>
                <c:pt idx="5">
                  <c:v>665019</c:v>
                </c:pt>
                <c:pt idx="6">
                  <c:v>673817</c:v>
                </c:pt>
                <c:pt idx="7">
                  <c:v>687870</c:v>
                </c:pt>
                <c:pt idx="8">
                  <c:v>698229</c:v>
                </c:pt>
                <c:pt idx="9">
                  <c:v>699286</c:v>
                </c:pt>
                <c:pt idx="10">
                  <c:v>696444</c:v>
                </c:pt>
                <c:pt idx="11">
                  <c:v>693949</c:v>
                </c:pt>
                <c:pt idx="12">
                  <c:v>693820</c:v>
                </c:pt>
                <c:pt idx="13">
                  <c:v>685022</c:v>
                </c:pt>
                <c:pt idx="14">
                  <c:v>685209</c:v>
                </c:pt>
                <c:pt idx="15">
                  <c:v>680323</c:v>
                </c:pt>
                <c:pt idx="16">
                  <c:v>671337</c:v>
                </c:pt>
                <c:pt idx="17">
                  <c:v>676131</c:v>
                </c:pt>
                <c:pt idx="18">
                  <c:v>676837</c:v>
                </c:pt>
                <c:pt idx="19">
                  <c:v>686103</c:v>
                </c:pt>
                <c:pt idx="20">
                  <c:v>683069</c:v>
                </c:pt>
                <c:pt idx="21">
                  <c:v>686814</c:v>
                </c:pt>
                <c:pt idx="22">
                  <c:v>688517</c:v>
                </c:pt>
                <c:pt idx="23">
                  <c:v>698333</c:v>
                </c:pt>
                <c:pt idx="24">
                  <c:v>706668</c:v>
                </c:pt>
                <c:pt idx="25">
                  <c:v>714372</c:v>
                </c:pt>
                <c:pt idx="26">
                  <c:v>713124</c:v>
                </c:pt>
                <c:pt idx="27">
                  <c:v>715779</c:v>
                </c:pt>
                <c:pt idx="28">
                  <c:v>720268</c:v>
                </c:pt>
                <c:pt idx="29">
                  <c:v>725586</c:v>
                </c:pt>
                <c:pt idx="30">
                  <c:v>727445</c:v>
                </c:pt>
                <c:pt idx="31">
                  <c:v>729452</c:v>
                </c:pt>
                <c:pt idx="32">
                  <c:v>731405</c:v>
                </c:pt>
                <c:pt idx="33">
                  <c:v>719754</c:v>
                </c:pt>
                <c:pt idx="34">
                  <c:v>726631</c:v>
                </c:pt>
                <c:pt idx="35">
                  <c:v>719477</c:v>
                </c:pt>
                <c:pt idx="36">
                  <c:v>716560</c:v>
                </c:pt>
                <c:pt idx="37">
                  <c:v>709546</c:v>
                </c:pt>
                <c:pt idx="38">
                  <c:v>707270</c:v>
                </c:pt>
                <c:pt idx="39">
                  <c:v>704770</c:v>
                </c:pt>
                <c:pt idx="40">
                  <c:v>740258</c:v>
                </c:pt>
                <c:pt idx="41">
                  <c:v>754650</c:v>
                </c:pt>
                <c:pt idx="42">
                  <c:v>726558</c:v>
                </c:pt>
                <c:pt idx="43">
                  <c:v>705822</c:v>
                </c:pt>
                <c:pt idx="44">
                  <c:v>711982</c:v>
                </c:pt>
                <c:pt idx="45">
                  <c:v>734482</c:v>
                </c:pt>
                <c:pt idx="46">
                  <c:v>732857</c:v>
                </c:pt>
                <c:pt idx="47">
                  <c:v>741573</c:v>
                </c:pt>
                <c:pt idx="48">
                  <c:v>720886</c:v>
                </c:pt>
                <c:pt idx="49">
                  <c:v>703558</c:v>
                </c:pt>
                <c:pt idx="50">
                  <c:v>689052</c:v>
                </c:pt>
                <c:pt idx="51">
                  <c:v>738772</c:v>
                </c:pt>
                <c:pt idx="52">
                  <c:v>685992</c:v>
                </c:pt>
                <c:pt idx="53">
                  <c:v>650888</c:v>
                </c:pt>
                <c:pt idx="54">
                  <c:v>607388</c:v>
                </c:pt>
                <c:pt idx="55">
                  <c:v>573482</c:v>
                </c:pt>
                <c:pt idx="56">
                  <c:v>594169</c:v>
                </c:pt>
                <c:pt idx="57">
                  <c:v>620565</c:v>
                </c:pt>
                <c:pt idx="58">
                  <c:v>630396</c:v>
                </c:pt>
                <c:pt idx="59">
                  <c:v>639504</c:v>
                </c:pt>
                <c:pt idx="60">
                  <c:v>651686</c:v>
                </c:pt>
                <c:pt idx="61">
                  <c:v>654528</c:v>
                </c:pt>
                <c:pt idx="62">
                  <c:v>654557</c:v>
                </c:pt>
                <c:pt idx="63">
                  <c:v>654310</c:v>
                </c:pt>
                <c:pt idx="64">
                  <c:v>649782</c:v>
                </c:pt>
                <c:pt idx="65">
                  <c:v>643348</c:v>
                </c:pt>
                <c:pt idx="66">
                  <c:v>640849</c:v>
                </c:pt>
                <c:pt idx="67">
                  <c:v>637789</c:v>
                </c:pt>
                <c:pt idx="68">
                  <c:v>625950</c:v>
                </c:pt>
                <c:pt idx="69">
                  <c:v>628914</c:v>
                </c:pt>
                <c:pt idx="70">
                  <c:v>626215</c:v>
                </c:pt>
                <c:pt idx="71">
                  <c:v>631226</c:v>
                </c:pt>
                <c:pt idx="72">
                  <c:v>629766</c:v>
                </c:pt>
                <c:pt idx="73">
                  <c:v>629780</c:v>
                </c:pt>
                <c:pt idx="74">
                  <c:v>627524</c:v>
                </c:pt>
                <c:pt idx="75">
                  <c:v>633617</c:v>
                </c:pt>
                <c:pt idx="76">
                  <c:v>635888</c:v>
                </c:pt>
                <c:pt idx="77">
                  <c:v>631897</c:v>
                </c:pt>
                <c:pt idx="78">
                  <c:v>632462</c:v>
                </c:pt>
                <c:pt idx="79">
                  <c:v>629431</c:v>
                </c:pt>
                <c:pt idx="80">
                  <c:v>629930</c:v>
                </c:pt>
                <c:pt idx="81">
                  <c:v>629087</c:v>
                </c:pt>
                <c:pt idx="82">
                  <c:v>629375</c:v>
                </c:pt>
                <c:pt idx="83">
                  <c:v>621025</c:v>
                </c:pt>
                <c:pt idx="84">
                  <c:v>620516</c:v>
                </c:pt>
                <c:pt idx="85">
                  <c:v>614140</c:v>
                </c:pt>
                <c:pt idx="86">
                  <c:v>609198</c:v>
                </c:pt>
                <c:pt idx="87">
                  <c:v>600566</c:v>
                </c:pt>
                <c:pt idx="88">
                  <c:v>604321</c:v>
                </c:pt>
                <c:pt idx="89">
                  <c:v>601175</c:v>
                </c:pt>
                <c:pt idx="90">
                  <c:v>599523</c:v>
                </c:pt>
                <c:pt idx="91">
                  <c:v>596953</c:v>
                </c:pt>
                <c:pt idx="92">
                  <c:v>603351</c:v>
                </c:pt>
                <c:pt idx="93">
                  <c:v>642066</c:v>
                </c:pt>
                <c:pt idx="94">
                  <c:v>653310</c:v>
                </c:pt>
                <c:pt idx="95">
                  <c:v>664294</c:v>
                </c:pt>
                <c:pt idx="96">
                  <c:v>668462</c:v>
                </c:pt>
                <c:pt idx="97">
                  <c:v>678988</c:v>
                </c:pt>
                <c:pt idx="98">
                  <c:v>688776</c:v>
                </c:pt>
                <c:pt idx="99">
                  <c:v>688378</c:v>
                </c:pt>
                <c:pt idx="100">
                  <c:v>698876</c:v>
                </c:pt>
                <c:pt idx="101">
                  <c:v>696393</c:v>
                </c:pt>
                <c:pt idx="102">
                  <c:v>693203</c:v>
                </c:pt>
                <c:pt idx="103">
                  <c:v>689698</c:v>
                </c:pt>
                <c:pt idx="104">
                  <c:v>603047</c:v>
                </c:pt>
                <c:pt idx="105">
                  <c:v>556986</c:v>
                </c:pt>
                <c:pt idx="106">
                  <c:v>581217</c:v>
                </c:pt>
                <c:pt idx="107">
                  <c:v>55790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8</c:v>
                </c:pt>
                <c:pt idx="37">
                  <c:v>0.79</c:v>
                </c:pt>
                <c:pt idx="38">
                  <c:v>0.79</c:v>
                </c:pt>
                <c:pt idx="39">
                  <c:v>0.79</c:v>
                </c:pt>
                <c:pt idx="40">
                  <c:v>0.81</c:v>
                </c:pt>
                <c:pt idx="41">
                  <c:v>0.8</c:v>
                </c:pt>
                <c:pt idx="42">
                  <c:v>0.79</c:v>
                </c:pt>
                <c:pt idx="43">
                  <c:v>0.08</c:v>
                </c:pt>
                <c:pt idx="44">
                  <c:v>0.08</c:v>
                </c:pt>
                <c:pt idx="45">
                  <c:v>0.1</c:v>
                </c:pt>
                <c:pt idx="46">
                  <c:v>0.16</c:v>
                </c:pt>
                <c:pt idx="47">
                  <c:v>0.17</c:v>
                </c:pt>
                <c:pt idx="48">
                  <c:v>0.25</c:v>
                </c:pt>
                <c:pt idx="49">
                  <c:v>0.27</c:v>
                </c:pt>
                <c:pt idx="50">
                  <c:v>0.36</c:v>
                </c:pt>
                <c:pt idx="51">
                  <c:v>0.55000000000000004</c:v>
                </c:pt>
                <c:pt idx="52">
                  <c:v>0.05</c:v>
                </c:pt>
                <c:pt idx="53">
                  <c:v>0.1</c:v>
                </c:pt>
                <c:pt idx="54">
                  <c:v>0.05</c:v>
                </c:pt>
                <c:pt idx="55">
                  <c:v>0.02</c:v>
                </c:pt>
                <c:pt idx="56">
                  <c:v>0.05</c:v>
                </c:pt>
                <c:pt idx="57">
                  <c:v>7.0000000000000007E-2</c:v>
                </c:pt>
                <c:pt idx="58">
                  <c:v>0.16</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593</c:v>
                </c:pt>
                <c:pt idx="1">
                  <c:v>9952</c:v>
                </c:pt>
                <c:pt idx="2">
                  <c:v>7382</c:v>
                </c:pt>
                <c:pt idx="3">
                  <c:v>3239</c:v>
                </c:pt>
                <c:pt idx="4">
                  <c:v>2822</c:v>
                </c:pt>
                <c:pt idx="5">
                  <c:v>1461</c:v>
                </c:pt>
                <c:pt idx="6">
                  <c:v>1403</c:v>
                </c:pt>
                <c:pt idx="7">
                  <c:v>1490</c:v>
                </c:pt>
                <c:pt idx="8">
                  <c:v>1696</c:v>
                </c:pt>
                <c:pt idx="9">
                  <c:v>1381</c:v>
                </c:pt>
                <c:pt idx="10">
                  <c:v>823</c:v>
                </c:pt>
                <c:pt idx="11">
                  <c:v>3540</c:v>
                </c:pt>
                <c:pt idx="12">
                  <c:v>2955</c:v>
                </c:pt>
                <c:pt idx="13">
                  <c:v>582</c:v>
                </c:pt>
                <c:pt idx="14">
                  <c:v>15105</c:v>
                </c:pt>
                <c:pt idx="15">
                  <c:v>14072</c:v>
                </c:pt>
                <c:pt idx="16">
                  <c:v>6536</c:v>
                </c:pt>
                <c:pt idx="17">
                  <c:v>5267</c:v>
                </c:pt>
                <c:pt idx="18">
                  <c:v>4067</c:v>
                </c:pt>
                <c:pt idx="19">
                  <c:v>2819</c:v>
                </c:pt>
                <c:pt idx="20">
                  <c:v>2712</c:v>
                </c:pt>
                <c:pt idx="21">
                  <c:v>10898</c:v>
                </c:pt>
                <c:pt idx="22">
                  <c:v>2457</c:v>
                </c:pt>
                <c:pt idx="23">
                  <c:v>1868</c:v>
                </c:pt>
                <c:pt idx="24">
                  <c:v>3463</c:v>
                </c:pt>
                <c:pt idx="25">
                  <c:v>1913</c:v>
                </c:pt>
                <c:pt idx="26">
                  <c:v>1839</c:v>
                </c:pt>
                <c:pt idx="27">
                  <c:v>2594</c:v>
                </c:pt>
                <c:pt idx="28">
                  <c:v>23808</c:v>
                </c:pt>
                <c:pt idx="29">
                  <c:v>16059</c:v>
                </c:pt>
                <c:pt idx="30">
                  <c:v>7567</c:v>
                </c:pt>
                <c:pt idx="31">
                  <c:v>5638</c:v>
                </c:pt>
                <c:pt idx="32">
                  <c:v>7448</c:v>
                </c:pt>
                <c:pt idx="33">
                  <c:v>6871</c:v>
                </c:pt>
                <c:pt idx="34">
                  <c:v>6174</c:v>
                </c:pt>
                <c:pt idx="35">
                  <c:v>6679</c:v>
                </c:pt>
                <c:pt idx="36">
                  <c:v>15220</c:v>
                </c:pt>
                <c:pt idx="37">
                  <c:v>20606</c:v>
                </c:pt>
                <c:pt idx="38">
                  <c:v>22989</c:v>
                </c:pt>
                <c:pt idx="39">
                  <c:v>20781</c:v>
                </c:pt>
                <c:pt idx="40">
                  <c:v>16464</c:v>
                </c:pt>
                <c:pt idx="41">
                  <c:v>15075</c:v>
                </c:pt>
                <c:pt idx="42">
                  <c:v>12672</c:v>
                </c:pt>
                <c:pt idx="43">
                  <c:v>10767</c:v>
                </c:pt>
                <c:pt idx="44">
                  <c:v>9388</c:v>
                </c:pt>
                <c:pt idx="45">
                  <c:v>8235</c:v>
                </c:pt>
                <c:pt idx="46">
                  <c:v>7170</c:v>
                </c:pt>
                <c:pt idx="47">
                  <c:v>3654</c:v>
                </c:pt>
                <c:pt idx="48">
                  <c:v>5041</c:v>
                </c:pt>
                <c:pt idx="49">
                  <c:v>8409</c:v>
                </c:pt>
                <c:pt idx="50">
                  <c:v>12711</c:v>
                </c:pt>
                <c:pt idx="51">
                  <c:v>7758</c:v>
                </c:pt>
                <c:pt idx="52">
                  <c:v>27703</c:v>
                </c:pt>
                <c:pt idx="53">
                  <c:v>56138</c:v>
                </c:pt>
                <c:pt idx="54">
                  <c:v>55878</c:v>
                </c:pt>
                <c:pt idx="55">
                  <c:v>60364</c:v>
                </c:pt>
                <c:pt idx="56">
                  <c:v>61069</c:v>
                </c:pt>
                <c:pt idx="57">
                  <c:v>67074</c:v>
                </c:pt>
                <c:pt idx="58">
                  <c:v>55250</c:v>
                </c:pt>
                <c:pt idx="59">
                  <c:v>26780</c:v>
                </c:pt>
                <c:pt idx="60">
                  <c:v>5346</c:v>
                </c:pt>
                <c:pt idx="61">
                  <c:v>4340</c:v>
                </c:pt>
                <c:pt idx="62">
                  <c:v>4140</c:v>
                </c:pt>
                <c:pt idx="63">
                  <c:v>3826</c:v>
                </c:pt>
                <c:pt idx="64">
                  <c:v>4367</c:v>
                </c:pt>
                <c:pt idx="65">
                  <c:v>23726</c:v>
                </c:pt>
                <c:pt idx="66">
                  <c:v>36589</c:v>
                </c:pt>
                <c:pt idx="67">
                  <c:v>37800</c:v>
                </c:pt>
                <c:pt idx="68">
                  <c:v>36540</c:v>
                </c:pt>
                <c:pt idx="69">
                  <c:v>41151</c:v>
                </c:pt>
                <c:pt idx="70">
                  <c:v>54459</c:v>
                </c:pt>
                <c:pt idx="71">
                  <c:v>62173</c:v>
                </c:pt>
                <c:pt idx="72">
                  <c:v>64406</c:v>
                </c:pt>
                <c:pt idx="73">
                  <c:v>61798</c:v>
                </c:pt>
                <c:pt idx="74">
                  <c:v>64032</c:v>
                </c:pt>
                <c:pt idx="75">
                  <c:v>69147</c:v>
                </c:pt>
                <c:pt idx="76">
                  <c:v>40199</c:v>
                </c:pt>
                <c:pt idx="77">
                  <c:v>41406</c:v>
                </c:pt>
                <c:pt idx="78">
                  <c:v>23603</c:v>
                </c:pt>
                <c:pt idx="79">
                  <c:v>22310</c:v>
                </c:pt>
                <c:pt idx="80">
                  <c:v>18143</c:v>
                </c:pt>
                <c:pt idx="81">
                  <c:v>18844</c:v>
                </c:pt>
                <c:pt idx="82">
                  <c:v>13447</c:v>
                </c:pt>
                <c:pt idx="83">
                  <c:v>10920</c:v>
                </c:pt>
                <c:pt idx="84">
                  <c:v>31514</c:v>
                </c:pt>
                <c:pt idx="85">
                  <c:v>30058</c:v>
                </c:pt>
                <c:pt idx="86">
                  <c:v>26135</c:v>
                </c:pt>
                <c:pt idx="87">
                  <c:v>10625</c:v>
                </c:pt>
                <c:pt idx="88">
                  <c:v>11642</c:v>
                </c:pt>
                <c:pt idx="89">
                  <c:v>8748</c:v>
                </c:pt>
                <c:pt idx="90">
                  <c:v>8453</c:v>
                </c:pt>
                <c:pt idx="91">
                  <c:v>8784</c:v>
                </c:pt>
                <c:pt idx="92">
                  <c:v>11568</c:v>
                </c:pt>
                <c:pt idx="93">
                  <c:v>12631</c:v>
                </c:pt>
                <c:pt idx="94">
                  <c:v>15348</c:v>
                </c:pt>
                <c:pt idx="95">
                  <c:v>11659</c:v>
                </c:pt>
                <c:pt idx="96">
                  <c:v>9991</c:v>
                </c:pt>
                <c:pt idx="97">
                  <c:v>7496</c:v>
                </c:pt>
                <c:pt idx="98">
                  <c:v>4629</c:v>
                </c:pt>
                <c:pt idx="99">
                  <c:v>3313</c:v>
                </c:pt>
                <c:pt idx="100">
                  <c:v>4178</c:v>
                </c:pt>
                <c:pt idx="101">
                  <c:v>29761</c:v>
                </c:pt>
                <c:pt idx="102">
                  <c:v>39292</c:v>
                </c:pt>
                <c:pt idx="103">
                  <c:v>26064</c:v>
                </c:pt>
                <c:pt idx="104">
                  <c:v>26092</c:v>
                </c:pt>
                <c:pt idx="105">
                  <c:v>21629</c:v>
                </c:pt>
                <c:pt idx="106">
                  <c:v>25804</c:v>
                </c:pt>
                <c:pt idx="107">
                  <c:v>2449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546805</c:v>
                </c:pt>
                <c:pt idx="1">
                  <c:v>541854</c:v>
                </c:pt>
                <c:pt idx="2">
                  <c:v>549084</c:v>
                </c:pt>
                <c:pt idx="3">
                  <c:v>543531</c:v>
                </c:pt>
                <c:pt idx="4">
                  <c:v>571784</c:v>
                </c:pt>
                <c:pt idx="5">
                  <c:v>568973</c:v>
                </c:pt>
                <c:pt idx="6">
                  <c:v>546207</c:v>
                </c:pt>
                <c:pt idx="7">
                  <c:v>571146</c:v>
                </c:pt>
                <c:pt idx="8">
                  <c:v>587385</c:v>
                </c:pt>
                <c:pt idx="9">
                  <c:v>570020</c:v>
                </c:pt>
                <c:pt idx="10">
                  <c:v>526022</c:v>
                </c:pt>
                <c:pt idx="11">
                  <c:v>510062</c:v>
                </c:pt>
                <c:pt idx="12">
                  <c:v>494761</c:v>
                </c:pt>
                <c:pt idx="13">
                  <c:v>535542</c:v>
                </c:pt>
                <c:pt idx="14">
                  <c:v>484335</c:v>
                </c:pt>
                <c:pt idx="15">
                  <c:v>573213</c:v>
                </c:pt>
                <c:pt idx="16">
                  <c:v>620914</c:v>
                </c:pt>
                <c:pt idx="17">
                  <c:v>690774</c:v>
                </c:pt>
                <c:pt idx="18">
                  <c:v>655346</c:v>
                </c:pt>
                <c:pt idx="19">
                  <c:v>647336</c:v>
                </c:pt>
                <c:pt idx="20">
                  <c:v>668711</c:v>
                </c:pt>
                <c:pt idx="21">
                  <c:v>709802</c:v>
                </c:pt>
                <c:pt idx="22">
                  <c:v>740149</c:v>
                </c:pt>
                <c:pt idx="23">
                  <c:v>717687</c:v>
                </c:pt>
                <c:pt idx="24">
                  <c:v>697752</c:v>
                </c:pt>
                <c:pt idx="25">
                  <c:v>711286</c:v>
                </c:pt>
                <c:pt idx="26">
                  <c:v>739186</c:v>
                </c:pt>
                <c:pt idx="27">
                  <c:v>715914</c:v>
                </c:pt>
                <c:pt idx="28">
                  <c:v>696391</c:v>
                </c:pt>
                <c:pt idx="29">
                  <c:v>700690</c:v>
                </c:pt>
                <c:pt idx="30">
                  <c:v>767697</c:v>
                </c:pt>
                <c:pt idx="31">
                  <c:v>726044</c:v>
                </c:pt>
                <c:pt idx="32">
                  <c:v>720478</c:v>
                </c:pt>
                <c:pt idx="33">
                  <c:v>697320</c:v>
                </c:pt>
                <c:pt idx="34">
                  <c:v>706714</c:v>
                </c:pt>
                <c:pt idx="35">
                  <c:v>694548</c:v>
                </c:pt>
                <c:pt idx="36">
                  <c:v>658075</c:v>
                </c:pt>
                <c:pt idx="37">
                  <c:v>651952</c:v>
                </c:pt>
                <c:pt idx="38">
                  <c:v>644093</c:v>
                </c:pt>
                <c:pt idx="39">
                  <c:v>670673</c:v>
                </c:pt>
                <c:pt idx="40">
                  <c:v>634782</c:v>
                </c:pt>
                <c:pt idx="41">
                  <c:v>625652</c:v>
                </c:pt>
                <c:pt idx="42">
                  <c:v>621324</c:v>
                </c:pt>
                <c:pt idx="43">
                  <c:v>644009</c:v>
                </c:pt>
                <c:pt idx="44">
                  <c:v>655810</c:v>
                </c:pt>
                <c:pt idx="45">
                  <c:v>618238</c:v>
                </c:pt>
                <c:pt idx="46">
                  <c:v>584979</c:v>
                </c:pt>
                <c:pt idx="47">
                  <c:v>641571</c:v>
                </c:pt>
                <c:pt idx="48">
                  <c:v>674566</c:v>
                </c:pt>
                <c:pt idx="49">
                  <c:v>650247</c:v>
                </c:pt>
                <c:pt idx="50">
                  <c:v>727682</c:v>
                </c:pt>
                <c:pt idx="51">
                  <c:v>581079</c:v>
                </c:pt>
                <c:pt idx="52">
                  <c:v>627486</c:v>
                </c:pt>
                <c:pt idx="53">
                  <c:v>564306</c:v>
                </c:pt>
                <c:pt idx="54">
                  <c:v>540285</c:v>
                </c:pt>
                <c:pt idx="55">
                  <c:v>574037</c:v>
                </c:pt>
                <c:pt idx="56">
                  <c:v>602292</c:v>
                </c:pt>
                <c:pt idx="57">
                  <c:v>589394</c:v>
                </c:pt>
                <c:pt idx="58">
                  <c:v>583968</c:v>
                </c:pt>
                <c:pt idx="59">
                  <c:v>654908</c:v>
                </c:pt>
                <c:pt idx="60">
                  <c:v>692294</c:v>
                </c:pt>
                <c:pt idx="61">
                  <c:v>681667</c:v>
                </c:pt>
                <c:pt idx="62">
                  <c:v>663618</c:v>
                </c:pt>
                <c:pt idx="63">
                  <c:v>652613</c:v>
                </c:pt>
                <c:pt idx="64">
                  <c:v>674257</c:v>
                </c:pt>
                <c:pt idx="65">
                  <c:v>687202</c:v>
                </c:pt>
                <c:pt idx="66">
                  <c:v>630702</c:v>
                </c:pt>
                <c:pt idx="67">
                  <c:v>600564</c:v>
                </c:pt>
                <c:pt idx="68">
                  <c:v>545251</c:v>
                </c:pt>
                <c:pt idx="69">
                  <c:v>592129</c:v>
                </c:pt>
                <c:pt idx="70">
                  <c:v>628375</c:v>
                </c:pt>
                <c:pt idx="71">
                  <c:v>617590</c:v>
                </c:pt>
                <c:pt idx="72">
                  <c:v>657381</c:v>
                </c:pt>
                <c:pt idx="73">
                  <c:v>654651</c:v>
                </c:pt>
                <c:pt idx="74">
                  <c:v>726893</c:v>
                </c:pt>
                <c:pt idx="75">
                  <c:v>671089</c:v>
                </c:pt>
                <c:pt idx="76">
                  <c:v>700349</c:v>
                </c:pt>
                <c:pt idx="77">
                  <c:v>689616</c:v>
                </c:pt>
                <c:pt idx="78">
                  <c:v>764944</c:v>
                </c:pt>
                <c:pt idx="79">
                  <c:v>682782</c:v>
                </c:pt>
                <c:pt idx="80">
                  <c:v>682243</c:v>
                </c:pt>
                <c:pt idx="81">
                  <c:v>666072</c:v>
                </c:pt>
                <c:pt idx="82">
                  <c:v>716437</c:v>
                </c:pt>
                <c:pt idx="83">
                  <c:v>713634</c:v>
                </c:pt>
                <c:pt idx="84">
                  <c:v>703557</c:v>
                </c:pt>
                <c:pt idx="85">
                  <c:v>687201</c:v>
                </c:pt>
                <c:pt idx="86">
                  <c:v>691812</c:v>
                </c:pt>
                <c:pt idx="87">
                  <c:v>718915</c:v>
                </c:pt>
                <c:pt idx="88">
                  <c:v>662260</c:v>
                </c:pt>
                <c:pt idx="89">
                  <c:v>662663</c:v>
                </c:pt>
                <c:pt idx="90">
                  <c:v>652903</c:v>
                </c:pt>
                <c:pt idx="91">
                  <c:v>731317</c:v>
                </c:pt>
                <c:pt idx="92">
                  <c:v>643492</c:v>
                </c:pt>
                <c:pt idx="93">
                  <c:v>653935</c:v>
                </c:pt>
                <c:pt idx="94">
                  <c:v>634519</c:v>
                </c:pt>
                <c:pt idx="95">
                  <c:v>643073</c:v>
                </c:pt>
                <c:pt idx="96">
                  <c:v>661996</c:v>
                </c:pt>
                <c:pt idx="97">
                  <c:v>618783</c:v>
                </c:pt>
                <c:pt idx="98">
                  <c:v>624971</c:v>
                </c:pt>
                <c:pt idx="99">
                  <c:v>581389</c:v>
                </c:pt>
                <c:pt idx="100">
                  <c:v>647002</c:v>
                </c:pt>
                <c:pt idx="101">
                  <c:v>617394</c:v>
                </c:pt>
                <c:pt idx="102">
                  <c:v>633674</c:v>
                </c:pt>
                <c:pt idx="103">
                  <c:v>570149</c:v>
                </c:pt>
                <c:pt idx="104">
                  <c:v>573440</c:v>
                </c:pt>
                <c:pt idx="105">
                  <c:v>516165</c:v>
                </c:pt>
                <c:pt idx="106">
                  <c:v>558761</c:v>
                </c:pt>
                <c:pt idx="107">
                  <c:v>53824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554398</c:v>
                </c:pt>
                <c:pt idx="1">
                  <c:v>551806</c:v>
                </c:pt>
                <c:pt idx="2">
                  <c:v>556466</c:v>
                </c:pt>
                <c:pt idx="3">
                  <c:v>546770</c:v>
                </c:pt>
                <c:pt idx="4">
                  <c:v>574606</c:v>
                </c:pt>
                <c:pt idx="5">
                  <c:v>570434</c:v>
                </c:pt>
                <c:pt idx="6">
                  <c:v>547610</c:v>
                </c:pt>
                <c:pt idx="7">
                  <c:v>572636</c:v>
                </c:pt>
                <c:pt idx="8">
                  <c:v>589081</c:v>
                </c:pt>
                <c:pt idx="9">
                  <c:v>571401</c:v>
                </c:pt>
                <c:pt idx="10">
                  <c:v>526845</c:v>
                </c:pt>
                <c:pt idx="11">
                  <c:v>513602</c:v>
                </c:pt>
                <c:pt idx="12">
                  <c:v>497716</c:v>
                </c:pt>
                <c:pt idx="13">
                  <c:v>536124</c:v>
                </c:pt>
                <c:pt idx="14">
                  <c:v>499440</c:v>
                </c:pt>
                <c:pt idx="15">
                  <c:v>587285</c:v>
                </c:pt>
                <c:pt idx="16">
                  <c:v>627450</c:v>
                </c:pt>
                <c:pt idx="17">
                  <c:v>696041</c:v>
                </c:pt>
                <c:pt idx="18">
                  <c:v>659413</c:v>
                </c:pt>
                <c:pt idx="19">
                  <c:v>650155</c:v>
                </c:pt>
                <c:pt idx="20">
                  <c:v>671423</c:v>
                </c:pt>
                <c:pt idx="21">
                  <c:v>720700</c:v>
                </c:pt>
                <c:pt idx="22">
                  <c:v>742606</c:v>
                </c:pt>
                <c:pt idx="23">
                  <c:v>719555</c:v>
                </c:pt>
                <c:pt idx="24">
                  <c:v>701215</c:v>
                </c:pt>
                <c:pt idx="25">
                  <c:v>713199</c:v>
                </c:pt>
                <c:pt idx="26">
                  <c:v>741025</c:v>
                </c:pt>
                <c:pt idx="27">
                  <c:v>718508</c:v>
                </c:pt>
                <c:pt idx="28">
                  <c:v>720199</c:v>
                </c:pt>
                <c:pt idx="29">
                  <c:v>716749</c:v>
                </c:pt>
                <c:pt idx="30">
                  <c:v>775264</c:v>
                </c:pt>
                <c:pt idx="31">
                  <c:v>731682</c:v>
                </c:pt>
                <c:pt idx="32">
                  <c:v>727926</c:v>
                </c:pt>
                <c:pt idx="33">
                  <c:v>704191</c:v>
                </c:pt>
                <c:pt idx="34">
                  <c:v>712888</c:v>
                </c:pt>
                <c:pt idx="35">
                  <c:v>701227</c:v>
                </c:pt>
                <c:pt idx="36">
                  <c:v>673295</c:v>
                </c:pt>
                <c:pt idx="37">
                  <c:v>672558</c:v>
                </c:pt>
                <c:pt idx="38">
                  <c:v>667082</c:v>
                </c:pt>
                <c:pt idx="39">
                  <c:v>691454</c:v>
                </c:pt>
                <c:pt idx="40">
                  <c:v>651246</c:v>
                </c:pt>
                <c:pt idx="41">
                  <c:v>640727</c:v>
                </c:pt>
                <c:pt idx="42">
                  <c:v>633996</c:v>
                </c:pt>
                <c:pt idx="43">
                  <c:v>654776</c:v>
                </c:pt>
                <c:pt idx="44">
                  <c:v>665198</c:v>
                </c:pt>
                <c:pt idx="45">
                  <c:v>626473</c:v>
                </c:pt>
                <c:pt idx="46">
                  <c:v>592149</c:v>
                </c:pt>
                <c:pt idx="47">
                  <c:v>645225</c:v>
                </c:pt>
                <c:pt idx="48">
                  <c:v>679607</c:v>
                </c:pt>
                <c:pt idx="49">
                  <c:v>658656</c:v>
                </c:pt>
                <c:pt idx="50">
                  <c:v>740393</c:v>
                </c:pt>
                <c:pt idx="51">
                  <c:v>588837</c:v>
                </c:pt>
                <c:pt idx="52">
                  <c:v>655189</c:v>
                </c:pt>
                <c:pt idx="53">
                  <c:v>620444</c:v>
                </c:pt>
                <c:pt idx="54">
                  <c:v>596163</c:v>
                </c:pt>
                <c:pt idx="55">
                  <c:v>634401</c:v>
                </c:pt>
                <c:pt idx="56">
                  <c:v>663361</c:v>
                </c:pt>
                <c:pt idx="57">
                  <c:v>656468</c:v>
                </c:pt>
                <c:pt idx="58">
                  <c:v>639218</c:v>
                </c:pt>
                <c:pt idx="59">
                  <c:v>681688</c:v>
                </c:pt>
                <c:pt idx="60">
                  <c:v>697640</c:v>
                </c:pt>
                <c:pt idx="61">
                  <c:v>686007</c:v>
                </c:pt>
                <c:pt idx="62">
                  <c:v>667758</c:v>
                </c:pt>
                <c:pt idx="63">
                  <c:v>656439</c:v>
                </c:pt>
                <c:pt idx="64">
                  <c:v>678624</c:v>
                </c:pt>
                <c:pt idx="65">
                  <c:v>710928</c:v>
                </c:pt>
                <c:pt idx="66">
                  <c:v>667291</c:v>
                </c:pt>
                <c:pt idx="67">
                  <c:v>638364</c:v>
                </c:pt>
                <c:pt idx="68">
                  <c:v>581791</c:v>
                </c:pt>
                <c:pt idx="69">
                  <c:v>633280</c:v>
                </c:pt>
                <c:pt idx="70">
                  <c:v>682834</c:v>
                </c:pt>
                <c:pt idx="71">
                  <c:v>679763</c:v>
                </c:pt>
                <c:pt idx="72">
                  <c:v>721787</c:v>
                </c:pt>
                <c:pt idx="73">
                  <c:v>716449</c:v>
                </c:pt>
                <c:pt idx="74">
                  <c:v>790925</c:v>
                </c:pt>
                <c:pt idx="75">
                  <c:v>740236</c:v>
                </c:pt>
                <c:pt idx="76">
                  <c:v>740548</c:v>
                </c:pt>
                <c:pt idx="77">
                  <c:v>731022</c:v>
                </c:pt>
                <c:pt idx="78">
                  <c:v>788547</c:v>
                </c:pt>
                <c:pt idx="79">
                  <c:v>705092</c:v>
                </c:pt>
                <c:pt idx="80">
                  <c:v>700386</c:v>
                </c:pt>
                <c:pt idx="81">
                  <c:v>684916</c:v>
                </c:pt>
                <c:pt idx="82">
                  <c:v>729884</c:v>
                </c:pt>
                <c:pt idx="83">
                  <c:v>724554</c:v>
                </c:pt>
                <c:pt idx="84">
                  <c:v>735071</c:v>
                </c:pt>
                <c:pt idx="85">
                  <c:v>717259</c:v>
                </c:pt>
                <c:pt idx="86">
                  <c:v>717947</c:v>
                </c:pt>
                <c:pt idx="87">
                  <c:v>729540</c:v>
                </c:pt>
                <c:pt idx="88">
                  <c:v>673902</c:v>
                </c:pt>
                <c:pt idx="89">
                  <c:v>671411</c:v>
                </c:pt>
                <c:pt idx="90">
                  <c:v>661356</c:v>
                </c:pt>
                <c:pt idx="91">
                  <c:v>740101</c:v>
                </c:pt>
                <c:pt idx="92">
                  <c:v>655060</c:v>
                </c:pt>
                <c:pt idx="93">
                  <c:v>666566</c:v>
                </c:pt>
                <c:pt idx="94">
                  <c:v>649867</c:v>
                </c:pt>
                <c:pt idx="95">
                  <c:v>654732</c:v>
                </c:pt>
                <c:pt idx="96">
                  <c:v>671987</c:v>
                </c:pt>
                <c:pt idx="97">
                  <c:v>626279</c:v>
                </c:pt>
                <c:pt idx="98">
                  <c:v>629600</c:v>
                </c:pt>
                <c:pt idx="99">
                  <c:v>584702</c:v>
                </c:pt>
                <c:pt idx="100">
                  <c:v>651180</c:v>
                </c:pt>
                <c:pt idx="101">
                  <c:v>647155</c:v>
                </c:pt>
                <c:pt idx="102">
                  <c:v>672966</c:v>
                </c:pt>
                <c:pt idx="103">
                  <c:v>596213</c:v>
                </c:pt>
                <c:pt idx="104">
                  <c:v>599532</c:v>
                </c:pt>
                <c:pt idx="105">
                  <c:v>537794</c:v>
                </c:pt>
                <c:pt idx="106">
                  <c:v>584565</c:v>
                </c:pt>
                <c:pt idx="107">
                  <c:v>5627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543307</c:v>
                </c:pt>
                <c:pt idx="1">
                  <c:v>549412</c:v>
                </c:pt>
                <c:pt idx="2">
                  <c:v>553242</c:v>
                </c:pt>
                <c:pt idx="3">
                  <c:v>552461</c:v>
                </c:pt>
                <c:pt idx="4">
                  <c:v>555085</c:v>
                </c:pt>
                <c:pt idx="5">
                  <c:v>561484</c:v>
                </c:pt>
                <c:pt idx="6">
                  <c:v>565410</c:v>
                </c:pt>
                <c:pt idx="7">
                  <c:v>562436</c:v>
                </c:pt>
                <c:pt idx="8">
                  <c:v>558529</c:v>
                </c:pt>
                <c:pt idx="9">
                  <c:v>548934</c:v>
                </c:pt>
                <c:pt idx="10">
                  <c:v>544574</c:v>
                </c:pt>
                <c:pt idx="11">
                  <c:v>536705</c:v>
                </c:pt>
                <c:pt idx="12">
                  <c:v>526431</c:v>
                </c:pt>
                <c:pt idx="13">
                  <c:v>510482</c:v>
                </c:pt>
                <c:pt idx="14">
                  <c:v>626264</c:v>
                </c:pt>
                <c:pt idx="15">
                  <c:v>632182</c:v>
                </c:pt>
                <c:pt idx="16">
                  <c:v>627066</c:v>
                </c:pt>
                <c:pt idx="17">
                  <c:v>633925</c:v>
                </c:pt>
                <c:pt idx="18">
                  <c:v>638841</c:v>
                </c:pt>
                <c:pt idx="19">
                  <c:v>670447</c:v>
                </c:pt>
                <c:pt idx="20">
                  <c:v>687503</c:v>
                </c:pt>
                <c:pt idx="21">
                  <c:v>696094</c:v>
                </c:pt>
                <c:pt idx="22">
                  <c:v>697958</c:v>
                </c:pt>
                <c:pt idx="23">
                  <c:v>705621</c:v>
                </c:pt>
                <c:pt idx="24">
                  <c:v>708432</c:v>
                </c:pt>
                <c:pt idx="25">
                  <c:v>708003</c:v>
                </c:pt>
                <c:pt idx="26">
                  <c:v>722072</c:v>
                </c:pt>
                <c:pt idx="27">
                  <c:v>747388</c:v>
                </c:pt>
                <c:pt idx="28">
                  <c:v>743554</c:v>
                </c:pt>
                <c:pt idx="29">
                  <c:v>740739</c:v>
                </c:pt>
                <c:pt idx="30">
                  <c:v>733491</c:v>
                </c:pt>
                <c:pt idx="31">
                  <c:v>726354</c:v>
                </c:pt>
                <c:pt idx="32">
                  <c:v>724022</c:v>
                </c:pt>
                <c:pt idx="33">
                  <c:v>718136</c:v>
                </c:pt>
                <c:pt idx="34">
                  <c:v>712562</c:v>
                </c:pt>
                <c:pt idx="35">
                  <c:v>698988</c:v>
                </c:pt>
                <c:pt idx="36">
                  <c:v>693897</c:v>
                </c:pt>
                <c:pt idx="37">
                  <c:v>684527</c:v>
                </c:pt>
                <c:pt idx="38">
                  <c:v>676751</c:v>
                </c:pt>
                <c:pt idx="39">
                  <c:v>666895</c:v>
                </c:pt>
                <c:pt idx="40">
                  <c:v>661100</c:v>
                </c:pt>
                <c:pt idx="41">
                  <c:v>660021</c:v>
                </c:pt>
                <c:pt idx="42">
                  <c:v>654272</c:v>
                </c:pt>
                <c:pt idx="43">
                  <c:v>644929</c:v>
                </c:pt>
                <c:pt idx="44">
                  <c:v>639190</c:v>
                </c:pt>
                <c:pt idx="45">
                  <c:v>642724</c:v>
                </c:pt>
                <c:pt idx="46">
                  <c:v>645018</c:v>
                </c:pt>
                <c:pt idx="47">
                  <c:v>658587</c:v>
                </c:pt>
                <c:pt idx="48">
                  <c:v>650422</c:v>
                </c:pt>
                <c:pt idx="49">
                  <c:v>649682</c:v>
                </c:pt>
                <c:pt idx="50">
                  <c:v>653527</c:v>
                </c:pt>
                <c:pt idx="51">
                  <c:v>649743</c:v>
                </c:pt>
                <c:pt idx="52">
                  <c:v>648902</c:v>
                </c:pt>
                <c:pt idx="53">
                  <c:v>654294</c:v>
                </c:pt>
                <c:pt idx="54">
                  <c:v>648995</c:v>
                </c:pt>
                <c:pt idx="55">
                  <c:v>637749</c:v>
                </c:pt>
                <c:pt idx="56">
                  <c:v>651448</c:v>
                </c:pt>
                <c:pt idx="57">
                  <c:v>659141</c:v>
                </c:pt>
                <c:pt idx="58">
                  <c:v>667581</c:v>
                </c:pt>
                <c:pt idx="59">
                  <c:v>676907</c:v>
                </c:pt>
                <c:pt idx="60">
                  <c:v>679775</c:v>
                </c:pt>
                <c:pt idx="61">
                  <c:v>681833</c:v>
                </c:pt>
                <c:pt idx="62">
                  <c:v>688085</c:v>
                </c:pt>
                <c:pt idx="63">
                  <c:v>685556</c:v>
                </c:pt>
                <c:pt idx="64">
                  <c:v>674037</c:v>
                </c:pt>
                <c:pt idx="65">
                  <c:v>659306</c:v>
                </c:pt>
                <c:pt idx="66">
                  <c:v>651605</c:v>
                </c:pt>
                <c:pt idx="67">
                  <c:v>652679</c:v>
                </c:pt>
                <c:pt idx="68">
                  <c:v>655174</c:v>
                </c:pt>
                <c:pt idx="69">
                  <c:v>660025</c:v>
                </c:pt>
                <c:pt idx="70">
                  <c:v>660694</c:v>
                </c:pt>
                <c:pt idx="71">
                  <c:v>675383</c:v>
                </c:pt>
                <c:pt idx="72">
                  <c:v>687867</c:v>
                </c:pt>
                <c:pt idx="73">
                  <c:v>708178</c:v>
                </c:pt>
                <c:pt idx="74">
                  <c:v>729986</c:v>
                </c:pt>
                <c:pt idx="75">
                  <c:v>743238</c:v>
                </c:pt>
                <c:pt idx="76">
                  <c:v>744184</c:v>
                </c:pt>
                <c:pt idx="77">
                  <c:v>738750</c:v>
                </c:pt>
                <c:pt idx="78">
                  <c:v>735583</c:v>
                </c:pt>
                <c:pt idx="79">
                  <c:v>728561</c:v>
                </c:pt>
                <c:pt idx="80">
                  <c:v>726586</c:v>
                </c:pt>
                <c:pt idx="81">
                  <c:v>725615</c:v>
                </c:pt>
                <c:pt idx="82">
                  <c:v>723814</c:v>
                </c:pt>
                <c:pt idx="83">
                  <c:v>714930</c:v>
                </c:pt>
                <c:pt idx="84">
                  <c:v>717956</c:v>
                </c:pt>
                <c:pt idx="85">
                  <c:v>714767</c:v>
                </c:pt>
                <c:pt idx="86">
                  <c:v>713043</c:v>
                </c:pt>
                <c:pt idx="87">
                  <c:v>704410</c:v>
                </c:pt>
                <c:pt idx="88">
                  <c:v>706475</c:v>
                </c:pt>
                <c:pt idx="89">
                  <c:v>696450</c:v>
                </c:pt>
                <c:pt idx="90">
                  <c:v>690082</c:v>
                </c:pt>
                <c:pt idx="91">
                  <c:v>681575</c:v>
                </c:pt>
                <c:pt idx="92">
                  <c:v>672273</c:v>
                </c:pt>
                <c:pt idx="93">
                  <c:v>671976</c:v>
                </c:pt>
                <c:pt idx="94">
                  <c:v>666263</c:v>
                </c:pt>
                <c:pt idx="95">
                  <c:v>662172</c:v>
                </c:pt>
                <c:pt idx="96">
                  <c:v>673580</c:v>
                </c:pt>
                <c:pt idx="97">
                  <c:v>642285</c:v>
                </c:pt>
                <c:pt idx="98">
                  <c:v>639003</c:v>
                </c:pt>
                <c:pt idx="99">
                  <c:v>641180</c:v>
                </c:pt>
                <c:pt idx="100">
                  <c:v>634768</c:v>
                </c:pt>
                <c:pt idx="101">
                  <c:v>629976</c:v>
                </c:pt>
                <c:pt idx="102">
                  <c:v>623586</c:v>
                </c:pt>
                <c:pt idx="103">
                  <c:v>614045</c:v>
                </c:pt>
                <c:pt idx="104">
                  <c:v>609436</c:v>
                </c:pt>
                <c:pt idx="105">
                  <c:v>582442</c:v>
                </c:pt>
                <c:pt idx="106">
                  <c:v>608376</c:v>
                </c:pt>
                <c:pt idx="107">
                  <c:v>59254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02</c:v>
                </c:pt>
                <c:pt idx="2">
                  <c:v>0.01</c:v>
                </c:pt>
                <c:pt idx="3">
                  <c:v>0.01</c:v>
                </c:pt>
                <c:pt idx="4">
                  <c:v>0</c:v>
                </c:pt>
                <c:pt idx="5">
                  <c:v>0</c:v>
                </c:pt>
                <c:pt idx="6">
                  <c:v>0</c:v>
                </c:pt>
                <c:pt idx="7">
                  <c:v>0</c:v>
                </c:pt>
                <c:pt idx="8">
                  <c:v>0</c:v>
                </c:pt>
                <c:pt idx="9">
                  <c:v>0</c:v>
                </c:pt>
                <c:pt idx="10">
                  <c:v>0</c:v>
                </c:pt>
                <c:pt idx="11">
                  <c:v>0</c:v>
                </c:pt>
                <c:pt idx="12">
                  <c:v>0</c:v>
                </c:pt>
                <c:pt idx="13">
                  <c:v>0</c:v>
                </c:pt>
                <c:pt idx="14">
                  <c:v>0.02</c:v>
                </c:pt>
                <c:pt idx="15">
                  <c:v>0.02</c:v>
                </c:pt>
                <c:pt idx="16">
                  <c:v>0.01</c:v>
                </c:pt>
                <c:pt idx="17">
                  <c:v>0.01</c:v>
                </c:pt>
                <c:pt idx="18">
                  <c:v>0.01</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1</c:v>
                </c:pt>
                <c:pt idx="38">
                  <c:v>0.02</c:v>
                </c:pt>
                <c:pt idx="39">
                  <c:v>0.01</c:v>
                </c:pt>
                <c:pt idx="40">
                  <c:v>0.01</c:v>
                </c:pt>
                <c:pt idx="41">
                  <c:v>0.01</c:v>
                </c:pt>
                <c:pt idx="42">
                  <c:v>0.01</c:v>
                </c:pt>
                <c:pt idx="43">
                  <c:v>0.01</c:v>
                </c:pt>
                <c:pt idx="44">
                  <c:v>0.01</c:v>
                </c:pt>
                <c:pt idx="45">
                  <c:v>0.01</c:v>
                </c:pt>
                <c:pt idx="46">
                  <c:v>0.01</c:v>
                </c:pt>
                <c:pt idx="47">
                  <c:v>0</c:v>
                </c:pt>
                <c:pt idx="48">
                  <c:v>0</c:v>
                </c:pt>
                <c:pt idx="49">
                  <c:v>0.01</c:v>
                </c:pt>
                <c:pt idx="50">
                  <c:v>0.01</c:v>
                </c:pt>
                <c:pt idx="51">
                  <c:v>0.01</c:v>
                </c:pt>
                <c:pt idx="52">
                  <c:v>0.02</c:v>
                </c:pt>
                <c:pt idx="53">
                  <c:v>0.04</c:v>
                </c:pt>
                <c:pt idx="54">
                  <c:v>0.04</c:v>
                </c:pt>
                <c:pt idx="55">
                  <c:v>0.04</c:v>
                </c:pt>
                <c:pt idx="56">
                  <c:v>0.04</c:v>
                </c:pt>
                <c:pt idx="57">
                  <c:v>0.05</c:v>
                </c:pt>
                <c:pt idx="58">
                  <c:v>0.05</c:v>
                </c:pt>
                <c:pt idx="59">
                  <c:v>0.03</c:v>
                </c:pt>
                <c:pt idx="60">
                  <c:v>0.01</c:v>
                </c:pt>
                <c:pt idx="61">
                  <c:v>0.01</c:v>
                </c:pt>
                <c:pt idx="62">
                  <c:v>0</c:v>
                </c:pt>
                <c:pt idx="63">
                  <c:v>0.01</c:v>
                </c:pt>
                <c:pt idx="64">
                  <c:v>0.01</c:v>
                </c:pt>
                <c:pt idx="65">
                  <c:v>0.1</c:v>
                </c:pt>
                <c:pt idx="66">
                  <c:v>0.18</c:v>
                </c:pt>
                <c:pt idx="67">
                  <c:v>0.18</c:v>
                </c:pt>
                <c:pt idx="68">
                  <c:v>0.19</c:v>
                </c:pt>
                <c:pt idx="69">
                  <c:v>0.19</c:v>
                </c:pt>
                <c:pt idx="70">
                  <c:v>0.19</c:v>
                </c:pt>
                <c:pt idx="71">
                  <c:v>0.2</c:v>
                </c:pt>
                <c:pt idx="72">
                  <c:v>0.2</c:v>
                </c:pt>
                <c:pt idx="73">
                  <c:v>0.2</c:v>
                </c:pt>
                <c:pt idx="74">
                  <c:v>0.2</c:v>
                </c:pt>
                <c:pt idx="75">
                  <c:v>0.2</c:v>
                </c:pt>
                <c:pt idx="76">
                  <c:v>0.17</c:v>
                </c:pt>
                <c:pt idx="77">
                  <c:v>0.02</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3</c:v>
                </c:pt>
                <c:pt idx="102">
                  <c:v>0.04</c:v>
                </c:pt>
                <c:pt idx="103">
                  <c:v>0.03</c:v>
                </c:pt>
                <c:pt idx="104">
                  <c:v>0.03</c:v>
                </c:pt>
                <c:pt idx="105">
                  <c:v>0.03</c:v>
                </c:pt>
                <c:pt idx="106">
                  <c:v>0.03</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552</c:v>
                </c:pt>
                <c:pt idx="1">
                  <c:v>55607</c:v>
                </c:pt>
                <c:pt idx="2">
                  <c:v>62191</c:v>
                </c:pt>
                <c:pt idx="3">
                  <c:v>38939</c:v>
                </c:pt>
                <c:pt idx="4">
                  <c:v>25211</c:v>
                </c:pt>
                <c:pt idx="5">
                  <c:v>37517</c:v>
                </c:pt>
                <c:pt idx="6">
                  <c:v>43900</c:v>
                </c:pt>
                <c:pt idx="7">
                  <c:v>61948</c:v>
                </c:pt>
                <c:pt idx="8">
                  <c:v>36114</c:v>
                </c:pt>
                <c:pt idx="9">
                  <c:v>36299</c:v>
                </c:pt>
                <c:pt idx="10">
                  <c:v>52839</c:v>
                </c:pt>
                <c:pt idx="11">
                  <c:v>41265</c:v>
                </c:pt>
                <c:pt idx="12">
                  <c:v>30335</c:v>
                </c:pt>
                <c:pt idx="13">
                  <c:v>31334</c:v>
                </c:pt>
                <c:pt idx="14">
                  <c:v>34629</c:v>
                </c:pt>
                <c:pt idx="15">
                  <c:v>61500</c:v>
                </c:pt>
                <c:pt idx="16">
                  <c:v>29963</c:v>
                </c:pt>
                <c:pt idx="17">
                  <c:v>7324</c:v>
                </c:pt>
                <c:pt idx="18">
                  <c:v>3608</c:v>
                </c:pt>
                <c:pt idx="19">
                  <c:v>3097</c:v>
                </c:pt>
                <c:pt idx="20">
                  <c:v>4138</c:v>
                </c:pt>
                <c:pt idx="21">
                  <c:v>1660</c:v>
                </c:pt>
                <c:pt idx="22">
                  <c:v>1281</c:v>
                </c:pt>
                <c:pt idx="23">
                  <c:v>1444</c:v>
                </c:pt>
                <c:pt idx="24">
                  <c:v>1245</c:v>
                </c:pt>
                <c:pt idx="25">
                  <c:v>1274</c:v>
                </c:pt>
                <c:pt idx="26">
                  <c:v>1301</c:v>
                </c:pt>
                <c:pt idx="27">
                  <c:v>24452</c:v>
                </c:pt>
                <c:pt idx="28">
                  <c:v>58592</c:v>
                </c:pt>
                <c:pt idx="29">
                  <c:v>33161</c:v>
                </c:pt>
                <c:pt idx="30">
                  <c:v>36436</c:v>
                </c:pt>
                <c:pt idx="31">
                  <c:v>38443</c:v>
                </c:pt>
                <c:pt idx="32">
                  <c:v>34229</c:v>
                </c:pt>
                <c:pt idx="33">
                  <c:v>40534</c:v>
                </c:pt>
                <c:pt idx="34">
                  <c:v>44723</c:v>
                </c:pt>
                <c:pt idx="35">
                  <c:v>16626</c:v>
                </c:pt>
                <c:pt idx="36">
                  <c:v>2709</c:v>
                </c:pt>
                <c:pt idx="37">
                  <c:v>1445</c:v>
                </c:pt>
                <c:pt idx="38">
                  <c:v>14426</c:v>
                </c:pt>
                <c:pt idx="39">
                  <c:v>27646</c:v>
                </c:pt>
                <c:pt idx="40">
                  <c:v>70667</c:v>
                </c:pt>
                <c:pt idx="41">
                  <c:v>86170</c:v>
                </c:pt>
                <c:pt idx="42">
                  <c:v>83230</c:v>
                </c:pt>
                <c:pt idx="43">
                  <c:v>86035</c:v>
                </c:pt>
                <c:pt idx="44">
                  <c:v>65534</c:v>
                </c:pt>
                <c:pt idx="45">
                  <c:v>75820</c:v>
                </c:pt>
                <c:pt idx="46">
                  <c:v>127420</c:v>
                </c:pt>
                <c:pt idx="47">
                  <c:v>124751</c:v>
                </c:pt>
                <c:pt idx="48">
                  <c:v>170392</c:v>
                </c:pt>
                <c:pt idx="49">
                  <c:v>278041</c:v>
                </c:pt>
                <c:pt idx="50">
                  <c:v>536730</c:v>
                </c:pt>
                <c:pt idx="51">
                  <c:v>743924</c:v>
                </c:pt>
                <c:pt idx="52">
                  <c:v>77550</c:v>
                </c:pt>
                <c:pt idx="53">
                  <c:v>43087</c:v>
                </c:pt>
                <c:pt idx="54">
                  <c:v>23260</c:v>
                </c:pt>
                <c:pt idx="55">
                  <c:v>13223</c:v>
                </c:pt>
                <c:pt idx="56">
                  <c:v>40894</c:v>
                </c:pt>
                <c:pt idx="57">
                  <c:v>72962</c:v>
                </c:pt>
                <c:pt idx="58">
                  <c:v>86685</c:v>
                </c:pt>
                <c:pt idx="59">
                  <c:v>141360</c:v>
                </c:pt>
                <c:pt idx="60">
                  <c:v>124422</c:v>
                </c:pt>
                <c:pt idx="61">
                  <c:v>114790</c:v>
                </c:pt>
                <c:pt idx="62">
                  <c:v>93992</c:v>
                </c:pt>
                <c:pt idx="63">
                  <c:v>77088</c:v>
                </c:pt>
                <c:pt idx="64">
                  <c:v>60757</c:v>
                </c:pt>
                <c:pt idx="65">
                  <c:v>58902</c:v>
                </c:pt>
                <c:pt idx="66">
                  <c:v>58569</c:v>
                </c:pt>
                <c:pt idx="67">
                  <c:v>71539</c:v>
                </c:pt>
                <c:pt idx="68">
                  <c:v>51474</c:v>
                </c:pt>
                <c:pt idx="69">
                  <c:v>52651</c:v>
                </c:pt>
                <c:pt idx="70">
                  <c:v>50118</c:v>
                </c:pt>
                <c:pt idx="71">
                  <c:v>48985</c:v>
                </c:pt>
                <c:pt idx="72">
                  <c:v>35216</c:v>
                </c:pt>
                <c:pt idx="73">
                  <c:v>517</c:v>
                </c:pt>
                <c:pt idx="74">
                  <c:v>1058</c:v>
                </c:pt>
                <c:pt idx="75">
                  <c:v>593</c:v>
                </c:pt>
                <c:pt idx="76">
                  <c:v>1677</c:v>
                </c:pt>
                <c:pt idx="77">
                  <c:v>455</c:v>
                </c:pt>
                <c:pt idx="78">
                  <c:v>1497</c:v>
                </c:pt>
                <c:pt idx="79">
                  <c:v>27642</c:v>
                </c:pt>
                <c:pt idx="80">
                  <c:v>52105</c:v>
                </c:pt>
                <c:pt idx="81">
                  <c:v>53595</c:v>
                </c:pt>
                <c:pt idx="82">
                  <c:v>51936</c:v>
                </c:pt>
                <c:pt idx="83">
                  <c:v>14395</c:v>
                </c:pt>
                <c:pt idx="84">
                  <c:v>11799</c:v>
                </c:pt>
                <c:pt idx="85">
                  <c:v>884</c:v>
                </c:pt>
                <c:pt idx="86">
                  <c:v>7938</c:v>
                </c:pt>
                <c:pt idx="87">
                  <c:v>1087</c:v>
                </c:pt>
                <c:pt idx="88">
                  <c:v>1161</c:v>
                </c:pt>
                <c:pt idx="89">
                  <c:v>1054</c:v>
                </c:pt>
                <c:pt idx="90">
                  <c:v>13493</c:v>
                </c:pt>
                <c:pt idx="91">
                  <c:v>29983</c:v>
                </c:pt>
                <c:pt idx="92">
                  <c:v>54528</c:v>
                </c:pt>
                <c:pt idx="93">
                  <c:v>82308</c:v>
                </c:pt>
                <c:pt idx="94">
                  <c:v>58393</c:v>
                </c:pt>
                <c:pt idx="95">
                  <c:v>35221</c:v>
                </c:pt>
                <c:pt idx="96">
                  <c:v>44720</c:v>
                </c:pt>
                <c:pt idx="97">
                  <c:v>103863</c:v>
                </c:pt>
                <c:pt idx="98">
                  <c:v>225472</c:v>
                </c:pt>
                <c:pt idx="99">
                  <c:v>260287</c:v>
                </c:pt>
                <c:pt idx="100">
                  <c:v>286691</c:v>
                </c:pt>
                <c:pt idx="101">
                  <c:v>334746</c:v>
                </c:pt>
                <c:pt idx="102">
                  <c:v>442205</c:v>
                </c:pt>
                <c:pt idx="103">
                  <c:v>616012</c:v>
                </c:pt>
                <c:pt idx="104">
                  <c:v>173268</c:v>
                </c:pt>
                <c:pt idx="105">
                  <c:v>152568</c:v>
                </c:pt>
                <c:pt idx="106">
                  <c:v>151211</c:v>
                </c:pt>
                <c:pt idx="107">
                  <c:v>13588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6194</c:v>
                </c:pt>
                <c:pt idx="1">
                  <c:v>276241</c:v>
                </c:pt>
                <c:pt idx="2">
                  <c:v>279480</c:v>
                </c:pt>
                <c:pt idx="3">
                  <c:v>276889</c:v>
                </c:pt>
                <c:pt idx="4">
                  <c:v>287655</c:v>
                </c:pt>
                <c:pt idx="5">
                  <c:v>284051</c:v>
                </c:pt>
                <c:pt idx="6">
                  <c:v>268302</c:v>
                </c:pt>
                <c:pt idx="7">
                  <c:v>284396</c:v>
                </c:pt>
                <c:pt idx="8">
                  <c:v>307398</c:v>
                </c:pt>
                <c:pt idx="9">
                  <c:v>282043</c:v>
                </c:pt>
                <c:pt idx="10">
                  <c:v>283883</c:v>
                </c:pt>
                <c:pt idx="11">
                  <c:v>283827</c:v>
                </c:pt>
                <c:pt idx="12">
                  <c:v>280340</c:v>
                </c:pt>
                <c:pt idx="13">
                  <c:v>308534</c:v>
                </c:pt>
                <c:pt idx="14">
                  <c:v>268837</c:v>
                </c:pt>
                <c:pt idx="15">
                  <c:v>275606</c:v>
                </c:pt>
                <c:pt idx="16">
                  <c:v>279051</c:v>
                </c:pt>
                <c:pt idx="17">
                  <c:v>314537</c:v>
                </c:pt>
                <c:pt idx="18">
                  <c:v>296923</c:v>
                </c:pt>
                <c:pt idx="19">
                  <c:v>292599</c:v>
                </c:pt>
                <c:pt idx="20">
                  <c:v>320553</c:v>
                </c:pt>
                <c:pt idx="21">
                  <c:v>324277</c:v>
                </c:pt>
                <c:pt idx="22">
                  <c:v>322341</c:v>
                </c:pt>
                <c:pt idx="23">
                  <c:v>313544</c:v>
                </c:pt>
                <c:pt idx="24">
                  <c:v>311314</c:v>
                </c:pt>
                <c:pt idx="25">
                  <c:v>314892</c:v>
                </c:pt>
                <c:pt idx="26">
                  <c:v>326585</c:v>
                </c:pt>
                <c:pt idx="27">
                  <c:v>297609</c:v>
                </c:pt>
                <c:pt idx="28">
                  <c:v>294058</c:v>
                </c:pt>
                <c:pt idx="29">
                  <c:v>300253</c:v>
                </c:pt>
                <c:pt idx="30">
                  <c:v>314149</c:v>
                </c:pt>
                <c:pt idx="31">
                  <c:v>289641</c:v>
                </c:pt>
                <c:pt idx="32">
                  <c:v>298797</c:v>
                </c:pt>
                <c:pt idx="33">
                  <c:v>284647</c:v>
                </c:pt>
                <c:pt idx="34">
                  <c:v>295086</c:v>
                </c:pt>
                <c:pt idx="35">
                  <c:v>311907</c:v>
                </c:pt>
                <c:pt idx="36">
                  <c:v>303558</c:v>
                </c:pt>
                <c:pt idx="37">
                  <c:v>295646</c:v>
                </c:pt>
                <c:pt idx="38">
                  <c:v>283629</c:v>
                </c:pt>
                <c:pt idx="39">
                  <c:v>284403</c:v>
                </c:pt>
                <c:pt idx="40">
                  <c:v>250103</c:v>
                </c:pt>
                <c:pt idx="41">
                  <c:v>249253</c:v>
                </c:pt>
                <c:pt idx="42">
                  <c:v>250419</c:v>
                </c:pt>
                <c:pt idx="43">
                  <c:v>259281</c:v>
                </c:pt>
                <c:pt idx="44">
                  <c:v>285182</c:v>
                </c:pt>
                <c:pt idx="45">
                  <c:v>279644</c:v>
                </c:pt>
                <c:pt idx="46">
                  <c:v>261270</c:v>
                </c:pt>
                <c:pt idx="47">
                  <c:v>273273</c:v>
                </c:pt>
                <c:pt idx="48">
                  <c:v>285526</c:v>
                </c:pt>
                <c:pt idx="49">
                  <c:v>256406</c:v>
                </c:pt>
                <c:pt idx="50">
                  <c:v>263449</c:v>
                </c:pt>
                <c:pt idx="51">
                  <c:v>183406</c:v>
                </c:pt>
                <c:pt idx="52">
                  <c:v>200027</c:v>
                </c:pt>
                <c:pt idx="53">
                  <c:v>190664</c:v>
                </c:pt>
                <c:pt idx="54">
                  <c:v>229837</c:v>
                </c:pt>
                <c:pt idx="55">
                  <c:v>256890</c:v>
                </c:pt>
                <c:pt idx="56">
                  <c:v>239412</c:v>
                </c:pt>
                <c:pt idx="57">
                  <c:v>216567</c:v>
                </c:pt>
                <c:pt idx="58">
                  <c:v>188580</c:v>
                </c:pt>
                <c:pt idx="59">
                  <c:v>185131</c:v>
                </c:pt>
                <c:pt idx="60">
                  <c:v>181895</c:v>
                </c:pt>
                <c:pt idx="61">
                  <c:v>179784</c:v>
                </c:pt>
                <c:pt idx="62">
                  <c:v>186298</c:v>
                </c:pt>
                <c:pt idx="63">
                  <c:v>212664</c:v>
                </c:pt>
                <c:pt idx="64">
                  <c:v>215641</c:v>
                </c:pt>
                <c:pt idx="65">
                  <c:v>218990</c:v>
                </c:pt>
                <c:pt idx="66">
                  <c:v>207026</c:v>
                </c:pt>
                <c:pt idx="67">
                  <c:v>205800</c:v>
                </c:pt>
                <c:pt idx="68">
                  <c:v>204805</c:v>
                </c:pt>
                <c:pt idx="69">
                  <c:v>215537</c:v>
                </c:pt>
                <c:pt idx="70">
                  <c:v>210607</c:v>
                </c:pt>
                <c:pt idx="71">
                  <c:v>203745</c:v>
                </c:pt>
                <c:pt idx="72">
                  <c:v>243155</c:v>
                </c:pt>
                <c:pt idx="73">
                  <c:v>258596</c:v>
                </c:pt>
                <c:pt idx="74">
                  <c:v>276113</c:v>
                </c:pt>
                <c:pt idx="75">
                  <c:v>264171</c:v>
                </c:pt>
                <c:pt idx="76">
                  <c:v>262901</c:v>
                </c:pt>
                <c:pt idx="77">
                  <c:v>262688</c:v>
                </c:pt>
                <c:pt idx="78">
                  <c:v>285638</c:v>
                </c:pt>
                <c:pt idx="79">
                  <c:v>238474</c:v>
                </c:pt>
                <c:pt idx="80">
                  <c:v>225707</c:v>
                </c:pt>
                <c:pt idx="81">
                  <c:v>213913</c:v>
                </c:pt>
                <c:pt idx="82">
                  <c:v>222844</c:v>
                </c:pt>
                <c:pt idx="83">
                  <c:v>252437</c:v>
                </c:pt>
                <c:pt idx="84">
                  <c:v>250944</c:v>
                </c:pt>
                <c:pt idx="85">
                  <c:v>257630</c:v>
                </c:pt>
                <c:pt idx="86">
                  <c:v>247341</c:v>
                </c:pt>
                <c:pt idx="87">
                  <c:v>258391</c:v>
                </c:pt>
                <c:pt idx="88">
                  <c:v>240870</c:v>
                </c:pt>
                <c:pt idx="89">
                  <c:v>244302</c:v>
                </c:pt>
                <c:pt idx="90">
                  <c:v>223766</c:v>
                </c:pt>
                <c:pt idx="91">
                  <c:v>244445</c:v>
                </c:pt>
                <c:pt idx="92">
                  <c:v>204110</c:v>
                </c:pt>
                <c:pt idx="93">
                  <c:v>194758</c:v>
                </c:pt>
                <c:pt idx="94">
                  <c:v>213419</c:v>
                </c:pt>
                <c:pt idx="95">
                  <c:v>236793</c:v>
                </c:pt>
                <c:pt idx="96">
                  <c:v>249771</c:v>
                </c:pt>
                <c:pt idx="97">
                  <c:v>189380</c:v>
                </c:pt>
                <c:pt idx="98">
                  <c:v>73838</c:v>
                </c:pt>
                <c:pt idx="99">
                  <c:v>71147</c:v>
                </c:pt>
                <c:pt idx="100">
                  <c:v>78918</c:v>
                </c:pt>
                <c:pt idx="101">
                  <c:v>74829</c:v>
                </c:pt>
                <c:pt idx="102">
                  <c:v>82211</c:v>
                </c:pt>
                <c:pt idx="103">
                  <c:v>89978</c:v>
                </c:pt>
                <c:pt idx="104">
                  <c:v>69519</c:v>
                </c:pt>
                <c:pt idx="105">
                  <c:v>67942</c:v>
                </c:pt>
                <c:pt idx="106">
                  <c:v>80565</c:v>
                </c:pt>
                <c:pt idx="107">
                  <c:v>7978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8746</c:v>
                </c:pt>
                <c:pt idx="1">
                  <c:v>331848</c:v>
                </c:pt>
                <c:pt idx="2">
                  <c:v>341671</c:v>
                </c:pt>
                <c:pt idx="3">
                  <c:v>315828</c:v>
                </c:pt>
                <c:pt idx="4">
                  <c:v>312866</c:v>
                </c:pt>
                <c:pt idx="5">
                  <c:v>321568</c:v>
                </c:pt>
                <c:pt idx="6">
                  <c:v>312202</c:v>
                </c:pt>
                <c:pt idx="7">
                  <c:v>346344</c:v>
                </c:pt>
                <c:pt idx="8">
                  <c:v>343512</c:v>
                </c:pt>
                <c:pt idx="9">
                  <c:v>318342</c:v>
                </c:pt>
                <c:pt idx="10">
                  <c:v>336722</c:v>
                </c:pt>
                <c:pt idx="11">
                  <c:v>325092</c:v>
                </c:pt>
                <c:pt idx="12">
                  <c:v>310675</c:v>
                </c:pt>
                <c:pt idx="13">
                  <c:v>339868</c:v>
                </c:pt>
                <c:pt idx="14">
                  <c:v>303466</c:v>
                </c:pt>
                <c:pt idx="15">
                  <c:v>337106</c:v>
                </c:pt>
                <c:pt idx="16">
                  <c:v>309014</c:v>
                </c:pt>
                <c:pt idx="17">
                  <c:v>321861</c:v>
                </c:pt>
                <c:pt idx="18">
                  <c:v>300531</c:v>
                </c:pt>
                <c:pt idx="19">
                  <c:v>295696</c:v>
                </c:pt>
                <c:pt idx="20">
                  <c:v>324691</c:v>
                </c:pt>
                <c:pt idx="21">
                  <c:v>325937</c:v>
                </c:pt>
                <c:pt idx="22">
                  <c:v>323622</c:v>
                </c:pt>
                <c:pt idx="23">
                  <c:v>314988</c:v>
                </c:pt>
                <c:pt idx="24">
                  <c:v>312559</c:v>
                </c:pt>
                <c:pt idx="25">
                  <c:v>316166</c:v>
                </c:pt>
                <c:pt idx="26">
                  <c:v>327886</c:v>
                </c:pt>
                <c:pt idx="27">
                  <c:v>322061</c:v>
                </c:pt>
                <c:pt idx="28">
                  <c:v>352650</c:v>
                </c:pt>
                <c:pt idx="29">
                  <c:v>333414</c:v>
                </c:pt>
                <c:pt idx="30">
                  <c:v>350585</c:v>
                </c:pt>
                <c:pt idx="31">
                  <c:v>328084</c:v>
                </c:pt>
                <c:pt idx="32">
                  <c:v>333026</c:v>
                </c:pt>
                <c:pt idx="33">
                  <c:v>325181</c:v>
                </c:pt>
                <c:pt idx="34">
                  <c:v>339809</c:v>
                </c:pt>
                <c:pt idx="35">
                  <c:v>328533</c:v>
                </c:pt>
                <c:pt idx="36">
                  <c:v>306267</c:v>
                </c:pt>
                <c:pt idx="37">
                  <c:v>297091</c:v>
                </c:pt>
                <c:pt idx="38">
                  <c:v>298055</c:v>
                </c:pt>
                <c:pt idx="39">
                  <c:v>312049</c:v>
                </c:pt>
                <c:pt idx="40">
                  <c:v>320770</c:v>
                </c:pt>
                <c:pt idx="41">
                  <c:v>335423</c:v>
                </c:pt>
                <c:pt idx="42">
                  <c:v>333649</c:v>
                </c:pt>
                <c:pt idx="43">
                  <c:v>345316</c:v>
                </c:pt>
                <c:pt idx="44">
                  <c:v>350716</c:v>
                </c:pt>
                <c:pt idx="45">
                  <c:v>355464</c:v>
                </c:pt>
                <c:pt idx="46">
                  <c:v>388690</c:v>
                </c:pt>
                <c:pt idx="47">
                  <c:v>398024</c:v>
                </c:pt>
                <c:pt idx="48">
                  <c:v>455918</c:v>
                </c:pt>
                <c:pt idx="49">
                  <c:v>534447</c:v>
                </c:pt>
                <c:pt idx="50">
                  <c:v>800179</c:v>
                </c:pt>
                <c:pt idx="51">
                  <c:v>927330</c:v>
                </c:pt>
                <c:pt idx="52">
                  <c:v>277577</c:v>
                </c:pt>
                <c:pt idx="53">
                  <c:v>233751</c:v>
                </c:pt>
                <c:pt idx="54">
                  <c:v>253097</c:v>
                </c:pt>
                <c:pt idx="55">
                  <c:v>270113</c:v>
                </c:pt>
                <c:pt idx="56">
                  <c:v>280306</c:v>
                </c:pt>
                <c:pt idx="57">
                  <c:v>289529</c:v>
                </c:pt>
                <c:pt idx="58">
                  <c:v>275265</c:v>
                </c:pt>
                <c:pt idx="59">
                  <c:v>326491</c:v>
                </c:pt>
                <c:pt idx="60">
                  <c:v>306317</c:v>
                </c:pt>
                <c:pt idx="61">
                  <c:v>294574</c:v>
                </c:pt>
                <c:pt idx="62">
                  <c:v>280290</c:v>
                </c:pt>
                <c:pt idx="63">
                  <c:v>289752</c:v>
                </c:pt>
                <c:pt idx="64">
                  <c:v>276398</c:v>
                </c:pt>
                <c:pt idx="65">
                  <c:v>277892</c:v>
                </c:pt>
                <c:pt idx="66">
                  <c:v>265595</c:v>
                </c:pt>
                <c:pt idx="67">
                  <c:v>277339</c:v>
                </c:pt>
                <c:pt idx="68">
                  <c:v>256279</c:v>
                </c:pt>
                <c:pt idx="69">
                  <c:v>268188</c:v>
                </c:pt>
                <c:pt idx="70">
                  <c:v>260725</c:v>
                </c:pt>
                <c:pt idx="71">
                  <c:v>252730</c:v>
                </c:pt>
                <c:pt idx="72">
                  <c:v>278371</c:v>
                </c:pt>
                <c:pt idx="73">
                  <c:v>259113</c:v>
                </c:pt>
                <c:pt idx="74">
                  <c:v>277171</c:v>
                </c:pt>
                <c:pt idx="75">
                  <c:v>264764</c:v>
                </c:pt>
                <c:pt idx="76">
                  <c:v>264578</c:v>
                </c:pt>
                <c:pt idx="77">
                  <c:v>263143</c:v>
                </c:pt>
                <c:pt idx="78">
                  <c:v>287135</c:v>
                </c:pt>
                <c:pt idx="79">
                  <c:v>266116</c:v>
                </c:pt>
                <c:pt idx="80">
                  <c:v>277812</c:v>
                </c:pt>
                <c:pt idx="81">
                  <c:v>267508</c:v>
                </c:pt>
                <c:pt idx="82">
                  <c:v>274780</c:v>
                </c:pt>
                <c:pt idx="83">
                  <c:v>266832</c:v>
                </c:pt>
                <c:pt idx="84">
                  <c:v>262743</c:v>
                </c:pt>
                <c:pt idx="85">
                  <c:v>258514</c:v>
                </c:pt>
                <c:pt idx="86">
                  <c:v>255279</c:v>
                </c:pt>
                <c:pt idx="87">
                  <c:v>259478</c:v>
                </c:pt>
                <c:pt idx="88">
                  <c:v>242031</c:v>
                </c:pt>
                <c:pt idx="89">
                  <c:v>245356</c:v>
                </c:pt>
                <c:pt idx="90">
                  <c:v>237259</c:v>
                </c:pt>
                <c:pt idx="91">
                  <c:v>274428</c:v>
                </c:pt>
                <c:pt idx="92">
                  <c:v>258638</c:v>
                </c:pt>
                <c:pt idx="93">
                  <c:v>277066</c:v>
                </c:pt>
                <c:pt idx="94">
                  <c:v>271812</c:v>
                </c:pt>
                <c:pt idx="95">
                  <c:v>272014</c:v>
                </c:pt>
                <c:pt idx="96">
                  <c:v>294491</c:v>
                </c:pt>
                <c:pt idx="97">
                  <c:v>293243</c:v>
                </c:pt>
                <c:pt idx="98">
                  <c:v>299310</c:v>
                </c:pt>
                <c:pt idx="99">
                  <c:v>331434</c:v>
                </c:pt>
                <c:pt idx="100">
                  <c:v>365609</c:v>
                </c:pt>
                <c:pt idx="101">
                  <c:v>409575</c:v>
                </c:pt>
                <c:pt idx="102">
                  <c:v>524416</c:v>
                </c:pt>
                <c:pt idx="103">
                  <c:v>705990</c:v>
                </c:pt>
                <c:pt idx="104">
                  <c:v>242787</c:v>
                </c:pt>
                <c:pt idx="105">
                  <c:v>220510</c:v>
                </c:pt>
                <c:pt idx="106">
                  <c:v>231776</c:v>
                </c:pt>
                <c:pt idx="107">
                  <c:v>215673</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8446</c:v>
                </c:pt>
                <c:pt idx="1">
                  <c:v>291405</c:v>
                </c:pt>
                <c:pt idx="2">
                  <c:v>295260</c:v>
                </c:pt>
                <c:pt idx="3">
                  <c:v>296754</c:v>
                </c:pt>
                <c:pt idx="4">
                  <c:v>300243</c:v>
                </c:pt>
                <c:pt idx="5">
                  <c:v>306414</c:v>
                </c:pt>
                <c:pt idx="6">
                  <c:v>314217</c:v>
                </c:pt>
                <c:pt idx="7">
                  <c:v>326884</c:v>
                </c:pt>
                <c:pt idx="8">
                  <c:v>330232</c:v>
                </c:pt>
                <c:pt idx="9">
                  <c:v>330109</c:v>
                </c:pt>
                <c:pt idx="10">
                  <c:v>326241</c:v>
                </c:pt>
                <c:pt idx="11">
                  <c:v>324912</c:v>
                </c:pt>
                <c:pt idx="12">
                  <c:v>323728</c:v>
                </c:pt>
                <c:pt idx="13">
                  <c:v>320483</c:v>
                </c:pt>
                <c:pt idx="14">
                  <c:v>321752</c:v>
                </c:pt>
                <c:pt idx="15">
                  <c:v>317714</c:v>
                </c:pt>
                <c:pt idx="16">
                  <c:v>313663</c:v>
                </c:pt>
                <c:pt idx="17">
                  <c:v>315365</c:v>
                </c:pt>
                <c:pt idx="18">
                  <c:v>314183</c:v>
                </c:pt>
                <c:pt idx="19">
                  <c:v>316559</c:v>
                </c:pt>
                <c:pt idx="20">
                  <c:v>314861</c:v>
                </c:pt>
                <c:pt idx="21">
                  <c:v>315173</c:v>
                </c:pt>
                <c:pt idx="22">
                  <c:v>314670</c:v>
                </c:pt>
                <c:pt idx="23">
                  <c:v>318041</c:v>
                </c:pt>
                <c:pt idx="24">
                  <c:v>321046</c:v>
                </c:pt>
                <c:pt idx="25">
                  <c:v>324365</c:v>
                </c:pt>
                <c:pt idx="26">
                  <c:v>324973</c:v>
                </c:pt>
                <c:pt idx="27">
                  <c:v>327384</c:v>
                </c:pt>
                <c:pt idx="28">
                  <c:v>329529</c:v>
                </c:pt>
                <c:pt idx="29">
                  <c:v>331582</c:v>
                </c:pt>
                <c:pt idx="30">
                  <c:v>332994</c:v>
                </c:pt>
                <c:pt idx="31">
                  <c:v>333944</c:v>
                </c:pt>
                <c:pt idx="32">
                  <c:v>334922</c:v>
                </c:pt>
                <c:pt idx="33">
                  <c:v>328521</c:v>
                </c:pt>
                <c:pt idx="34">
                  <c:v>324753</c:v>
                </c:pt>
                <c:pt idx="35">
                  <c:v>318788</c:v>
                </c:pt>
                <c:pt idx="36">
                  <c:v>316955</c:v>
                </c:pt>
                <c:pt idx="37">
                  <c:v>312670</c:v>
                </c:pt>
                <c:pt idx="38">
                  <c:v>308972</c:v>
                </c:pt>
                <c:pt idx="39">
                  <c:v>303051</c:v>
                </c:pt>
                <c:pt idx="40">
                  <c:v>322065</c:v>
                </c:pt>
                <c:pt idx="41">
                  <c:v>336562</c:v>
                </c:pt>
                <c:pt idx="42">
                  <c:v>337323</c:v>
                </c:pt>
                <c:pt idx="43">
                  <c:v>339628</c:v>
                </c:pt>
                <c:pt idx="44">
                  <c:v>340624</c:v>
                </c:pt>
                <c:pt idx="45">
                  <c:v>342966</c:v>
                </c:pt>
                <c:pt idx="46">
                  <c:v>353829</c:v>
                </c:pt>
                <c:pt idx="47">
                  <c:v>358487</c:v>
                </c:pt>
                <c:pt idx="48">
                  <c:v>353308</c:v>
                </c:pt>
                <c:pt idx="49">
                  <c:v>342638</c:v>
                </c:pt>
                <c:pt idx="50">
                  <c:v>334150</c:v>
                </c:pt>
                <c:pt idx="51">
                  <c:v>376965</c:v>
                </c:pt>
                <c:pt idx="52">
                  <c:v>346862</c:v>
                </c:pt>
                <c:pt idx="53">
                  <c:v>301252</c:v>
                </c:pt>
                <c:pt idx="54">
                  <c:v>266796</c:v>
                </c:pt>
                <c:pt idx="55">
                  <c:v>249677</c:v>
                </c:pt>
                <c:pt idx="56">
                  <c:v>260152</c:v>
                </c:pt>
                <c:pt idx="57">
                  <c:v>283414</c:v>
                </c:pt>
                <c:pt idx="58">
                  <c:v>285479</c:v>
                </c:pt>
                <c:pt idx="59">
                  <c:v>290082</c:v>
                </c:pt>
                <c:pt idx="60">
                  <c:v>295985</c:v>
                </c:pt>
                <c:pt idx="61">
                  <c:v>294594</c:v>
                </c:pt>
                <c:pt idx="62">
                  <c:v>292970</c:v>
                </c:pt>
                <c:pt idx="63">
                  <c:v>290524</c:v>
                </c:pt>
                <c:pt idx="64">
                  <c:v>285808</c:v>
                </c:pt>
                <c:pt idx="65">
                  <c:v>281909</c:v>
                </c:pt>
                <c:pt idx="66">
                  <c:v>279802</c:v>
                </c:pt>
                <c:pt idx="67">
                  <c:v>273536</c:v>
                </c:pt>
                <c:pt idx="68">
                  <c:v>265616</c:v>
                </c:pt>
                <c:pt idx="69">
                  <c:v>266174</c:v>
                </c:pt>
                <c:pt idx="70">
                  <c:v>264121</c:v>
                </c:pt>
                <c:pt idx="71">
                  <c:v>264494</c:v>
                </c:pt>
                <c:pt idx="72">
                  <c:v>265183</c:v>
                </c:pt>
                <c:pt idx="73">
                  <c:v>265562</c:v>
                </c:pt>
                <c:pt idx="74">
                  <c:v>264900</c:v>
                </c:pt>
                <c:pt idx="75">
                  <c:v>268365</c:v>
                </c:pt>
                <c:pt idx="76">
                  <c:v>269828</c:v>
                </c:pt>
                <c:pt idx="77">
                  <c:v>269989</c:v>
                </c:pt>
                <c:pt idx="78">
                  <c:v>271017</c:v>
                </c:pt>
                <c:pt idx="79">
                  <c:v>270264</c:v>
                </c:pt>
                <c:pt idx="80">
                  <c:v>270611</c:v>
                </c:pt>
                <c:pt idx="81">
                  <c:v>269887</c:v>
                </c:pt>
                <c:pt idx="82">
                  <c:v>270565</c:v>
                </c:pt>
                <c:pt idx="83">
                  <c:v>265967</c:v>
                </c:pt>
                <c:pt idx="84">
                  <c:v>265170</c:v>
                </c:pt>
                <c:pt idx="85">
                  <c:v>261099</c:v>
                </c:pt>
                <c:pt idx="86">
                  <c:v>258238</c:v>
                </c:pt>
                <c:pt idx="87">
                  <c:v>253737</c:v>
                </c:pt>
                <c:pt idx="88">
                  <c:v>254609</c:v>
                </c:pt>
                <c:pt idx="89">
                  <c:v>252998</c:v>
                </c:pt>
                <c:pt idx="90">
                  <c:v>252270</c:v>
                </c:pt>
                <c:pt idx="91">
                  <c:v>251063</c:v>
                </c:pt>
                <c:pt idx="92">
                  <c:v>253312</c:v>
                </c:pt>
                <c:pt idx="93">
                  <c:v>271158</c:v>
                </c:pt>
                <c:pt idx="94">
                  <c:v>277239</c:v>
                </c:pt>
                <c:pt idx="95">
                  <c:v>283869</c:v>
                </c:pt>
                <c:pt idx="96">
                  <c:v>288792</c:v>
                </c:pt>
                <c:pt idx="97">
                  <c:v>296733</c:v>
                </c:pt>
                <c:pt idx="98">
                  <c:v>305750</c:v>
                </c:pt>
                <c:pt idx="99">
                  <c:v>306113</c:v>
                </c:pt>
                <c:pt idx="100">
                  <c:v>313860</c:v>
                </c:pt>
                <c:pt idx="101">
                  <c:v>313283</c:v>
                </c:pt>
                <c:pt idx="102">
                  <c:v>313288</c:v>
                </c:pt>
                <c:pt idx="103">
                  <c:v>311204</c:v>
                </c:pt>
                <c:pt idx="104">
                  <c:v>269437</c:v>
                </c:pt>
                <c:pt idx="105">
                  <c:v>245473</c:v>
                </c:pt>
                <c:pt idx="106">
                  <c:v>252247</c:v>
                </c:pt>
                <c:pt idx="107">
                  <c:v>2366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4</c:v>
                </c:pt>
                <c:pt idx="4">
                  <c:v>0.16</c:v>
                </c:pt>
                <c:pt idx="5">
                  <c:v>0.2</c:v>
                </c:pt>
                <c:pt idx="6">
                  <c:v>0.2</c:v>
                </c:pt>
                <c:pt idx="7">
                  <c:v>0.22</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01</c:v>
                </c:pt>
                <c:pt idx="24">
                  <c:v>0.01</c:v>
                </c:pt>
                <c:pt idx="25">
                  <c:v>0.01</c:v>
                </c:pt>
                <c:pt idx="26">
                  <c:v>0</c:v>
                </c:pt>
                <c:pt idx="27">
                  <c:v>0.08</c:v>
                </c:pt>
                <c:pt idx="28">
                  <c:v>0.18</c:v>
                </c:pt>
                <c:pt idx="29">
                  <c:v>0.15</c:v>
                </c:pt>
                <c:pt idx="30">
                  <c:v>0.14000000000000001</c:v>
                </c:pt>
                <c:pt idx="31">
                  <c:v>0.13</c:v>
                </c:pt>
                <c:pt idx="32">
                  <c:v>0.12</c:v>
                </c:pt>
                <c:pt idx="33">
                  <c:v>0.14000000000000001</c:v>
                </c:pt>
                <c:pt idx="34">
                  <c:v>0.15</c:v>
                </c:pt>
                <c:pt idx="35">
                  <c:v>0.06</c:v>
                </c:pt>
                <c:pt idx="36">
                  <c:v>0.01</c:v>
                </c:pt>
                <c:pt idx="37">
                  <c:v>0</c:v>
                </c:pt>
                <c:pt idx="38">
                  <c:v>0.06</c:v>
                </c:pt>
                <c:pt idx="39">
                  <c:v>0.1</c:v>
                </c:pt>
                <c:pt idx="40">
                  <c:v>0.24</c:v>
                </c:pt>
                <c:pt idx="41">
                  <c:v>0.27</c:v>
                </c:pt>
                <c:pt idx="42">
                  <c:v>0.27</c:v>
                </c:pt>
                <c:pt idx="43">
                  <c:v>0.25</c:v>
                </c:pt>
                <c:pt idx="44">
                  <c:v>0.17</c:v>
                </c:pt>
                <c:pt idx="45">
                  <c:v>0.19</c:v>
                </c:pt>
                <c:pt idx="46">
                  <c:v>0.28999999999999998</c:v>
                </c:pt>
                <c:pt idx="47">
                  <c:v>0.28000000000000003</c:v>
                </c:pt>
                <c:pt idx="48">
                  <c:v>0.33</c:v>
                </c:pt>
                <c:pt idx="49">
                  <c:v>0.49</c:v>
                </c:pt>
                <c:pt idx="50">
                  <c:v>0.61</c:v>
                </c:pt>
                <c:pt idx="51">
                  <c:v>0.81</c:v>
                </c:pt>
                <c:pt idx="52">
                  <c:v>0.33</c:v>
                </c:pt>
                <c:pt idx="53">
                  <c:v>0.27</c:v>
                </c:pt>
                <c:pt idx="54">
                  <c:v>0.18</c:v>
                </c:pt>
                <c:pt idx="55">
                  <c:v>0.1</c:v>
                </c:pt>
                <c:pt idx="56">
                  <c:v>0.19</c:v>
                </c:pt>
                <c:pt idx="57">
                  <c:v>0.3</c:v>
                </c:pt>
                <c:pt idx="58">
                  <c:v>0.36</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4</c:v>
                </c:pt>
                <c:pt idx="107">
                  <c:v>0.7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259</c:v>
                </c:pt>
                <c:pt idx="1">
                  <c:v>55523</c:v>
                </c:pt>
                <c:pt idx="2">
                  <c:v>62066</c:v>
                </c:pt>
                <c:pt idx="3">
                  <c:v>38805</c:v>
                </c:pt>
                <c:pt idx="4">
                  <c:v>25160</c:v>
                </c:pt>
                <c:pt idx="5">
                  <c:v>36847</c:v>
                </c:pt>
                <c:pt idx="6">
                  <c:v>43294</c:v>
                </c:pt>
                <c:pt idx="7">
                  <c:v>61386</c:v>
                </c:pt>
                <c:pt idx="8">
                  <c:v>35869</c:v>
                </c:pt>
                <c:pt idx="9">
                  <c:v>35896</c:v>
                </c:pt>
                <c:pt idx="10">
                  <c:v>52287</c:v>
                </c:pt>
                <c:pt idx="11">
                  <c:v>40602</c:v>
                </c:pt>
                <c:pt idx="12">
                  <c:v>29449</c:v>
                </c:pt>
                <c:pt idx="13">
                  <c:v>30502</c:v>
                </c:pt>
                <c:pt idx="14">
                  <c:v>34262</c:v>
                </c:pt>
                <c:pt idx="15">
                  <c:v>60735</c:v>
                </c:pt>
                <c:pt idx="16">
                  <c:v>29203</c:v>
                </c:pt>
                <c:pt idx="17">
                  <c:v>6680</c:v>
                </c:pt>
                <c:pt idx="18">
                  <c:v>3057</c:v>
                </c:pt>
                <c:pt idx="19">
                  <c:v>2562</c:v>
                </c:pt>
                <c:pt idx="20">
                  <c:v>3387</c:v>
                </c:pt>
                <c:pt idx="21">
                  <c:v>1289</c:v>
                </c:pt>
                <c:pt idx="22">
                  <c:v>456</c:v>
                </c:pt>
                <c:pt idx="23">
                  <c:v>819</c:v>
                </c:pt>
                <c:pt idx="24">
                  <c:v>855</c:v>
                </c:pt>
                <c:pt idx="25">
                  <c:v>778</c:v>
                </c:pt>
                <c:pt idx="26">
                  <c:v>537</c:v>
                </c:pt>
                <c:pt idx="27">
                  <c:v>23899</c:v>
                </c:pt>
                <c:pt idx="28">
                  <c:v>57953</c:v>
                </c:pt>
                <c:pt idx="29">
                  <c:v>32536</c:v>
                </c:pt>
                <c:pt idx="30">
                  <c:v>35833</c:v>
                </c:pt>
                <c:pt idx="31">
                  <c:v>38026</c:v>
                </c:pt>
                <c:pt idx="32">
                  <c:v>33618</c:v>
                </c:pt>
                <c:pt idx="33">
                  <c:v>40053</c:v>
                </c:pt>
                <c:pt idx="34">
                  <c:v>44289</c:v>
                </c:pt>
                <c:pt idx="35">
                  <c:v>16073</c:v>
                </c:pt>
                <c:pt idx="36">
                  <c:v>1992</c:v>
                </c:pt>
                <c:pt idx="37">
                  <c:v>797</c:v>
                </c:pt>
                <c:pt idx="38">
                  <c:v>13874</c:v>
                </c:pt>
                <c:pt idx="39">
                  <c:v>26785</c:v>
                </c:pt>
                <c:pt idx="40">
                  <c:v>64590</c:v>
                </c:pt>
                <c:pt idx="41">
                  <c:v>75900</c:v>
                </c:pt>
                <c:pt idx="42">
                  <c:v>71423</c:v>
                </c:pt>
                <c:pt idx="43">
                  <c:v>73250</c:v>
                </c:pt>
                <c:pt idx="44">
                  <c:v>49290</c:v>
                </c:pt>
                <c:pt idx="45">
                  <c:v>55969</c:v>
                </c:pt>
                <c:pt idx="46">
                  <c:v>89836</c:v>
                </c:pt>
                <c:pt idx="47">
                  <c:v>89019</c:v>
                </c:pt>
                <c:pt idx="48">
                  <c:v>114913</c:v>
                </c:pt>
                <c:pt idx="49">
                  <c:v>185905</c:v>
                </c:pt>
                <c:pt idx="50">
                  <c:v>311789</c:v>
                </c:pt>
                <c:pt idx="51">
                  <c:v>300604</c:v>
                </c:pt>
                <c:pt idx="52">
                  <c:v>14537</c:v>
                </c:pt>
                <c:pt idx="53">
                  <c:v>32402</c:v>
                </c:pt>
                <c:pt idx="54">
                  <c:v>17029</c:v>
                </c:pt>
                <c:pt idx="55">
                  <c:v>8616</c:v>
                </c:pt>
                <c:pt idx="56">
                  <c:v>38880</c:v>
                </c:pt>
                <c:pt idx="57">
                  <c:v>71407</c:v>
                </c:pt>
                <c:pt idx="58">
                  <c:v>85905</c:v>
                </c:pt>
                <c:pt idx="59">
                  <c:v>140716</c:v>
                </c:pt>
                <c:pt idx="60">
                  <c:v>123889</c:v>
                </c:pt>
                <c:pt idx="61">
                  <c:v>114587</c:v>
                </c:pt>
                <c:pt idx="62">
                  <c:v>93820</c:v>
                </c:pt>
                <c:pt idx="63">
                  <c:v>76707</c:v>
                </c:pt>
                <c:pt idx="64">
                  <c:v>60663</c:v>
                </c:pt>
                <c:pt idx="65">
                  <c:v>58840</c:v>
                </c:pt>
                <c:pt idx="66">
                  <c:v>58504</c:v>
                </c:pt>
                <c:pt idx="67">
                  <c:v>71486</c:v>
                </c:pt>
                <c:pt idx="68">
                  <c:v>51419</c:v>
                </c:pt>
                <c:pt idx="69">
                  <c:v>52638</c:v>
                </c:pt>
                <c:pt idx="70">
                  <c:v>50074</c:v>
                </c:pt>
                <c:pt idx="71">
                  <c:v>48926</c:v>
                </c:pt>
                <c:pt idx="72">
                  <c:v>35142</c:v>
                </c:pt>
                <c:pt idx="73">
                  <c:v>517</c:v>
                </c:pt>
                <c:pt idx="74">
                  <c:v>1058</c:v>
                </c:pt>
                <c:pt idx="75">
                  <c:v>543</c:v>
                </c:pt>
                <c:pt idx="76">
                  <c:v>1666</c:v>
                </c:pt>
                <c:pt idx="77">
                  <c:v>439</c:v>
                </c:pt>
                <c:pt idx="78">
                  <c:v>1458</c:v>
                </c:pt>
                <c:pt idx="79">
                  <c:v>27586</c:v>
                </c:pt>
                <c:pt idx="80">
                  <c:v>52071</c:v>
                </c:pt>
                <c:pt idx="81">
                  <c:v>53579</c:v>
                </c:pt>
                <c:pt idx="82">
                  <c:v>51922</c:v>
                </c:pt>
                <c:pt idx="83">
                  <c:v>14391</c:v>
                </c:pt>
                <c:pt idx="84">
                  <c:v>11799</c:v>
                </c:pt>
                <c:pt idx="85">
                  <c:v>884</c:v>
                </c:pt>
                <c:pt idx="86">
                  <c:v>7938</c:v>
                </c:pt>
                <c:pt idx="87">
                  <c:v>1079</c:v>
                </c:pt>
                <c:pt idx="88">
                  <c:v>1138</c:v>
                </c:pt>
                <c:pt idx="89">
                  <c:v>1046</c:v>
                </c:pt>
                <c:pt idx="90">
                  <c:v>13474</c:v>
                </c:pt>
                <c:pt idx="91">
                  <c:v>29965</c:v>
                </c:pt>
                <c:pt idx="92">
                  <c:v>54504</c:v>
                </c:pt>
                <c:pt idx="93">
                  <c:v>82305</c:v>
                </c:pt>
                <c:pt idx="94">
                  <c:v>58368</c:v>
                </c:pt>
                <c:pt idx="95">
                  <c:v>35221</c:v>
                </c:pt>
                <c:pt idx="96">
                  <c:v>44696</c:v>
                </c:pt>
                <c:pt idx="97">
                  <c:v>103856</c:v>
                </c:pt>
                <c:pt idx="98">
                  <c:v>225472</c:v>
                </c:pt>
                <c:pt idx="99">
                  <c:v>260287</c:v>
                </c:pt>
                <c:pt idx="100">
                  <c:v>286691</c:v>
                </c:pt>
                <c:pt idx="101">
                  <c:v>334735</c:v>
                </c:pt>
                <c:pt idx="102">
                  <c:v>442184</c:v>
                </c:pt>
                <c:pt idx="103">
                  <c:v>616012</c:v>
                </c:pt>
                <c:pt idx="104">
                  <c:v>173231</c:v>
                </c:pt>
                <c:pt idx="105">
                  <c:v>152538</c:v>
                </c:pt>
                <c:pt idx="106">
                  <c:v>151156</c:v>
                </c:pt>
                <c:pt idx="107">
                  <c:v>1358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5427</c:v>
                </c:pt>
                <c:pt idx="1">
                  <c:v>273438</c:v>
                </c:pt>
                <c:pt idx="2">
                  <c:v>274004</c:v>
                </c:pt>
                <c:pt idx="3">
                  <c:v>267100</c:v>
                </c:pt>
                <c:pt idx="4">
                  <c:v>276596</c:v>
                </c:pt>
                <c:pt idx="5">
                  <c:v>272192</c:v>
                </c:pt>
                <c:pt idx="6">
                  <c:v>257831</c:v>
                </c:pt>
                <c:pt idx="7">
                  <c:v>272467</c:v>
                </c:pt>
                <c:pt idx="8">
                  <c:v>293227</c:v>
                </c:pt>
                <c:pt idx="9">
                  <c:v>270132</c:v>
                </c:pt>
                <c:pt idx="10">
                  <c:v>272293</c:v>
                </c:pt>
                <c:pt idx="11">
                  <c:v>272364</c:v>
                </c:pt>
                <c:pt idx="12">
                  <c:v>267863</c:v>
                </c:pt>
                <c:pt idx="13">
                  <c:v>293796</c:v>
                </c:pt>
                <c:pt idx="14">
                  <c:v>253400</c:v>
                </c:pt>
                <c:pt idx="15">
                  <c:v>261002</c:v>
                </c:pt>
                <c:pt idx="16">
                  <c:v>264945</c:v>
                </c:pt>
                <c:pt idx="17">
                  <c:v>298971</c:v>
                </c:pt>
                <c:pt idx="18">
                  <c:v>282697</c:v>
                </c:pt>
                <c:pt idx="19">
                  <c:v>278409</c:v>
                </c:pt>
                <c:pt idx="20">
                  <c:v>305789</c:v>
                </c:pt>
                <c:pt idx="21">
                  <c:v>309773</c:v>
                </c:pt>
                <c:pt idx="22">
                  <c:v>307436</c:v>
                </c:pt>
                <c:pt idx="23">
                  <c:v>298198</c:v>
                </c:pt>
                <c:pt idx="24">
                  <c:v>294888</c:v>
                </c:pt>
                <c:pt idx="25">
                  <c:v>300056</c:v>
                </c:pt>
                <c:pt idx="26">
                  <c:v>310862</c:v>
                </c:pt>
                <c:pt idx="27">
                  <c:v>282562</c:v>
                </c:pt>
                <c:pt idx="28">
                  <c:v>278306</c:v>
                </c:pt>
                <c:pt idx="29">
                  <c:v>285370</c:v>
                </c:pt>
                <c:pt idx="30">
                  <c:v>298373</c:v>
                </c:pt>
                <c:pt idx="31">
                  <c:v>274050</c:v>
                </c:pt>
                <c:pt idx="32">
                  <c:v>282379</c:v>
                </c:pt>
                <c:pt idx="33">
                  <c:v>268852</c:v>
                </c:pt>
                <c:pt idx="34">
                  <c:v>280069</c:v>
                </c:pt>
                <c:pt idx="35">
                  <c:v>298098</c:v>
                </c:pt>
                <c:pt idx="36">
                  <c:v>290032</c:v>
                </c:pt>
                <c:pt idx="37">
                  <c:v>281810</c:v>
                </c:pt>
                <c:pt idx="38">
                  <c:v>269880</c:v>
                </c:pt>
                <c:pt idx="39">
                  <c:v>270487</c:v>
                </c:pt>
                <c:pt idx="40">
                  <c:v>236103</c:v>
                </c:pt>
                <c:pt idx="41">
                  <c:v>235429</c:v>
                </c:pt>
                <c:pt idx="42">
                  <c:v>237621</c:v>
                </c:pt>
                <c:pt idx="43">
                  <c:v>245956</c:v>
                </c:pt>
                <c:pt idx="44">
                  <c:v>271650</c:v>
                </c:pt>
                <c:pt idx="45">
                  <c:v>266549</c:v>
                </c:pt>
                <c:pt idx="46">
                  <c:v>249893</c:v>
                </c:pt>
                <c:pt idx="47">
                  <c:v>261179</c:v>
                </c:pt>
                <c:pt idx="48">
                  <c:v>274113</c:v>
                </c:pt>
                <c:pt idx="49">
                  <c:v>249061</c:v>
                </c:pt>
                <c:pt idx="50">
                  <c:v>258407</c:v>
                </c:pt>
                <c:pt idx="51">
                  <c:v>177998</c:v>
                </c:pt>
                <c:pt idx="52">
                  <c:v>196754</c:v>
                </c:pt>
                <c:pt idx="53">
                  <c:v>189316</c:v>
                </c:pt>
                <c:pt idx="54">
                  <c:v>229287</c:v>
                </c:pt>
                <c:pt idx="55">
                  <c:v>256670</c:v>
                </c:pt>
                <c:pt idx="56">
                  <c:v>239199</c:v>
                </c:pt>
                <c:pt idx="57">
                  <c:v>216428</c:v>
                </c:pt>
                <c:pt idx="58">
                  <c:v>188390</c:v>
                </c:pt>
                <c:pt idx="59">
                  <c:v>184857</c:v>
                </c:pt>
                <c:pt idx="60">
                  <c:v>181616</c:v>
                </c:pt>
                <c:pt idx="61">
                  <c:v>179526</c:v>
                </c:pt>
                <c:pt idx="62">
                  <c:v>186033</c:v>
                </c:pt>
                <c:pt idx="63">
                  <c:v>212554</c:v>
                </c:pt>
                <c:pt idx="64">
                  <c:v>215373</c:v>
                </c:pt>
                <c:pt idx="65">
                  <c:v>218920</c:v>
                </c:pt>
                <c:pt idx="66">
                  <c:v>206896</c:v>
                </c:pt>
                <c:pt idx="67">
                  <c:v>205692</c:v>
                </c:pt>
                <c:pt idx="68">
                  <c:v>204720</c:v>
                </c:pt>
                <c:pt idx="69">
                  <c:v>215373</c:v>
                </c:pt>
                <c:pt idx="70">
                  <c:v>210526</c:v>
                </c:pt>
                <c:pt idx="71">
                  <c:v>203692</c:v>
                </c:pt>
                <c:pt idx="72">
                  <c:v>243060</c:v>
                </c:pt>
                <c:pt idx="73">
                  <c:v>258491</c:v>
                </c:pt>
                <c:pt idx="74">
                  <c:v>276014</c:v>
                </c:pt>
                <c:pt idx="75">
                  <c:v>264105</c:v>
                </c:pt>
                <c:pt idx="76">
                  <c:v>262851</c:v>
                </c:pt>
                <c:pt idx="77">
                  <c:v>262631</c:v>
                </c:pt>
                <c:pt idx="78">
                  <c:v>285612</c:v>
                </c:pt>
                <c:pt idx="79">
                  <c:v>238450</c:v>
                </c:pt>
                <c:pt idx="80">
                  <c:v>225678</c:v>
                </c:pt>
                <c:pt idx="81">
                  <c:v>213900</c:v>
                </c:pt>
                <c:pt idx="82">
                  <c:v>222822</c:v>
                </c:pt>
                <c:pt idx="83">
                  <c:v>252397</c:v>
                </c:pt>
                <c:pt idx="84">
                  <c:v>250937</c:v>
                </c:pt>
                <c:pt idx="85">
                  <c:v>257576</c:v>
                </c:pt>
                <c:pt idx="86">
                  <c:v>247333</c:v>
                </c:pt>
                <c:pt idx="87">
                  <c:v>258329</c:v>
                </c:pt>
                <c:pt idx="88">
                  <c:v>240812</c:v>
                </c:pt>
                <c:pt idx="89">
                  <c:v>244295</c:v>
                </c:pt>
                <c:pt idx="90">
                  <c:v>223708</c:v>
                </c:pt>
                <c:pt idx="91">
                  <c:v>244443</c:v>
                </c:pt>
                <c:pt idx="92">
                  <c:v>204106</c:v>
                </c:pt>
                <c:pt idx="93">
                  <c:v>194732</c:v>
                </c:pt>
                <c:pt idx="94">
                  <c:v>213407</c:v>
                </c:pt>
                <c:pt idx="95">
                  <c:v>236778</c:v>
                </c:pt>
                <c:pt idx="96">
                  <c:v>249752</c:v>
                </c:pt>
                <c:pt idx="97">
                  <c:v>189338</c:v>
                </c:pt>
                <c:pt idx="98">
                  <c:v>73823</c:v>
                </c:pt>
                <c:pt idx="99">
                  <c:v>71145</c:v>
                </c:pt>
                <c:pt idx="100">
                  <c:v>78911</c:v>
                </c:pt>
                <c:pt idx="101">
                  <c:v>74783</c:v>
                </c:pt>
                <c:pt idx="102">
                  <c:v>82178</c:v>
                </c:pt>
                <c:pt idx="103">
                  <c:v>89829</c:v>
                </c:pt>
                <c:pt idx="104">
                  <c:v>69171</c:v>
                </c:pt>
                <c:pt idx="105">
                  <c:v>66863</c:v>
                </c:pt>
                <c:pt idx="106">
                  <c:v>75204</c:v>
                </c:pt>
                <c:pt idx="107">
                  <c:v>706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7686</c:v>
                </c:pt>
                <c:pt idx="1">
                  <c:v>328961</c:v>
                </c:pt>
                <c:pt idx="2">
                  <c:v>336070</c:v>
                </c:pt>
                <c:pt idx="3">
                  <c:v>305905</c:v>
                </c:pt>
                <c:pt idx="4">
                  <c:v>301756</c:v>
                </c:pt>
                <c:pt idx="5">
                  <c:v>309039</c:v>
                </c:pt>
                <c:pt idx="6">
                  <c:v>301125</c:v>
                </c:pt>
                <c:pt idx="7">
                  <c:v>333853</c:v>
                </c:pt>
                <c:pt idx="8">
                  <c:v>329096</c:v>
                </c:pt>
                <c:pt idx="9">
                  <c:v>306028</c:v>
                </c:pt>
                <c:pt idx="10">
                  <c:v>324580</c:v>
                </c:pt>
                <c:pt idx="11">
                  <c:v>312966</c:v>
                </c:pt>
                <c:pt idx="12">
                  <c:v>297312</c:v>
                </c:pt>
                <c:pt idx="13">
                  <c:v>324298</c:v>
                </c:pt>
                <c:pt idx="14">
                  <c:v>287662</c:v>
                </c:pt>
                <c:pt idx="15">
                  <c:v>321737</c:v>
                </c:pt>
                <c:pt idx="16">
                  <c:v>294148</c:v>
                </c:pt>
                <c:pt idx="17">
                  <c:v>305651</c:v>
                </c:pt>
                <c:pt idx="18">
                  <c:v>285754</c:v>
                </c:pt>
                <c:pt idx="19">
                  <c:v>280971</c:v>
                </c:pt>
                <c:pt idx="20">
                  <c:v>309176</c:v>
                </c:pt>
                <c:pt idx="21">
                  <c:v>311062</c:v>
                </c:pt>
                <c:pt idx="22">
                  <c:v>307892</c:v>
                </c:pt>
                <c:pt idx="23">
                  <c:v>299017</c:v>
                </c:pt>
                <c:pt idx="24">
                  <c:v>295743</c:v>
                </c:pt>
                <c:pt idx="25">
                  <c:v>300834</c:v>
                </c:pt>
                <c:pt idx="26">
                  <c:v>311399</c:v>
                </c:pt>
                <c:pt idx="27">
                  <c:v>306461</c:v>
                </c:pt>
                <c:pt idx="28">
                  <c:v>336259</c:v>
                </c:pt>
                <c:pt idx="29">
                  <c:v>317906</c:v>
                </c:pt>
                <c:pt idx="30">
                  <c:v>334206</c:v>
                </c:pt>
                <c:pt idx="31">
                  <c:v>312076</c:v>
                </c:pt>
                <c:pt idx="32">
                  <c:v>315997</c:v>
                </c:pt>
                <c:pt idx="33">
                  <c:v>308905</c:v>
                </c:pt>
                <c:pt idx="34">
                  <c:v>324358</c:v>
                </c:pt>
                <c:pt idx="35">
                  <c:v>314171</c:v>
                </c:pt>
                <c:pt idx="36">
                  <c:v>292024</c:v>
                </c:pt>
                <c:pt idx="37">
                  <c:v>282607</c:v>
                </c:pt>
                <c:pt idx="38">
                  <c:v>283754</c:v>
                </c:pt>
                <c:pt idx="39">
                  <c:v>297272</c:v>
                </c:pt>
                <c:pt idx="40">
                  <c:v>300693</c:v>
                </c:pt>
                <c:pt idx="41">
                  <c:v>311329</c:v>
                </c:pt>
                <c:pt idx="42">
                  <c:v>309044</c:v>
                </c:pt>
                <c:pt idx="43">
                  <c:v>319206</c:v>
                </c:pt>
                <c:pt idx="44">
                  <c:v>320940</c:v>
                </c:pt>
                <c:pt idx="45">
                  <c:v>322518</c:v>
                </c:pt>
                <c:pt idx="46">
                  <c:v>339729</c:v>
                </c:pt>
                <c:pt idx="47">
                  <c:v>350198</c:v>
                </c:pt>
                <c:pt idx="48">
                  <c:v>389026</c:v>
                </c:pt>
                <c:pt idx="49">
                  <c:v>434966</c:v>
                </c:pt>
                <c:pt idx="50">
                  <c:v>570196</c:v>
                </c:pt>
                <c:pt idx="51">
                  <c:v>478602</c:v>
                </c:pt>
                <c:pt idx="52">
                  <c:v>211291</c:v>
                </c:pt>
                <c:pt idx="53">
                  <c:v>221718</c:v>
                </c:pt>
                <c:pt idx="54">
                  <c:v>246316</c:v>
                </c:pt>
                <c:pt idx="55">
                  <c:v>265286</c:v>
                </c:pt>
                <c:pt idx="56">
                  <c:v>278079</c:v>
                </c:pt>
                <c:pt idx="57">
                  <c:v>287835</c:v>
                </c:pt>
                <c:pt idx="58">
                  <c:v>274295</c:v>
                </c:pt>
                <c:pt idx="59">
                  <c:v>325573</c:v>
                </c:pt>
                <c:pt idx="60">
                  <c:v>305505</c:v>
                </c:pt>
                <c:pt idx="61">
                  <c:v>294113</c:v>
                </c:pt>
                <c:pt idx="62">
                  <c:v>279853</c:v>
                </c:pt>
                <c:pt idx="63">
                  <c:v>289261</c:v>
                </c:pt>
                <c:pt idx="64">
                  <c:v>276036</c:v>
                </c:pt>
                <c:pt idx="65">
                  <c:v>277760</c:v>
                </c:pt>
                <c:pt idx="66">
                  <c:v>265400</c:v>
                </c:pt>
                <c:pt idx="67">
                  <c:v>277178</c:v>
                </c:pt>
                <c:pt idx="68">
                  <c:v>256139</c:v>
                </c:pt>
                <c:pt idx="69">
                  <c:v>268011</c:v>
                </c:pt>
                <c:pt idx="70">
                  <c:v>260600</c:v>
                </c:pt>
                <c:pt idx="71">
                  <c:v>252618</c:v>
                </c:pt>
                <c:pt idx="72">
                  <c:v>278202</c:v>
                </c:pt>
                <c:pt idx="73">
                  <c:v>259008</c:v>
                </c:pt>
                <c:pt idx="74">
                  <c:v>277072</c:v>
                </c:pt>
                <c:pt idx="75">
                  <c:v>264648</c:v>
                </c:pt>
                <c:pt idx="76">
                  <c:v>264517</c:v>
                </c:pt>
                <c:pt idx="77">
                  <c:v>263070</c:v>
                </c:pt>
                <c:pt idx="78">
                  <c:v>287070</c:v>
                </c:pt>
                <c:pt idx="79">
                  <c:v>266036</c:v>
                </c:pt>
                <c:pt idx="80">
                  <c:v>277749</c:v>
                </c:pt>
                <c:pt idx="81">
                  <c:v>267479</c:v>
                </c:pt>
                <c:pt idx="82">
                  <c:v>274744</c:v>
                </c:pt>
                <c:pt idx="83">
                  <c:v>266788</c:v>
                </c:pt>
                <c:pt idx="84">
                  <c:v>262736</c:v>
                </c:pt>
                <c:pt idx="85">
                  <c:v>258460</c:v>
                </c:pt>
                <c:pt idx="86">
                  <c:v>255271</c:v>
                </c:pt>
                <c:pt idx="87">
                  <c:v>259408</c:v>
                </c:pt>
                <c:pt idx="88">
                  <c:v>241950</c:v>
                </c:pt>
                <c:pt idx="89">
                  <c:v>245341</c:v>
                </c:pt>
                <c:pt idx="90">
                  <c:v>237182</c:v>
                </c:pt>
                <c:pt idx="91">
                  <c:v>274408</c:v>
                </c:pt>
                <c:pt idx="92">
                  <c:v>258610</c:v>
                </c:pt>
                <c:pt idx="93">
                  <c:v>277037</c:v>
                </c:pt>
                <c:pt idx="94">
                  <c:v>271775</c:v>
                </c:pt>
                <c:pt idx="95">
                  <c:v>271999</c:v>
                </c:pt>
                <c:pt idx="96">
                  <c:v>294448</c:v>
                </c:pt>
                <c:pt idx="97">
                  <c:v>293194</c:v>
                </c:pt>
                <c:pt idx="98">
                  <c:v>299295</c:v>
                </c:pt>
                <c:pt idx="99">
                  <c:v>331432</c:v>
                </c:pt>
                <c:pt idx="100">
                  <c:v>365602</c:v>
                </c:pt>
                <c:pt idx="101">
                  <c:v>409518</c:v>
                </c:pt>
                <c:pt idx="102">
                  <c:v>524362</c:v>
                </c:pt>
                <c:pt idx="103">
                  <c:v>705841</c:v>
                </c:pt>
                <c:pt idx="104">
                  <c:v>242402</c:v>
                </c:pt>
                <c:pt idx="105">
                  <c:v>219401</c:v>
                </c:pt>
                <c:pt idx="106">
                  <c:v>226360</c:v>
                </c:pt>
                <c:pt idx="107">
                  <c:v>20648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3987</c:v>
                </c:pt>
                <c:pt idx="1">
                  <c:v>285416</c:v>
                </c:pt>
                <c:pt idx="2">
                  <c:v>288066</c:v>
                </c:pt>
                <c:pt idx="3">
                  <c:v>288937</c:v>
                </c:pt>
                <c:pt idx="4">
                  <c:v>291778</c:v>
                </c:pt>
                <c:pt idx="5">
                  <c:v>296278</c:v>
                </c:pt>
                <c:pt idx="6">
                  <c:v>302780</c:v>
                </c:pt>
                <c:pt idx="7">
                  <c:v>314608</c:v>
                </c:pt>
                <c:pt idx="8">
                  <c:v>317624</c:v>
                </c:pt>
                <c:pt idx="9">
                  <c:v>317228</c:v>
                </c:pt>
                <c:pt idx="10">
                  <c:v>313107</c:v>
                </c:pt>
                <c:pt idx="11">
                  <c:v>311041</c:v>
                </c:pt>
                <c:pt idx="12">
                  <c:v>309480</c:v>
                </c:pt>
                <c:pt idx="13">
                  <c:v>306171</c:v>
                </c:pt>
                <c:pt idx="14">
                  <c:v>306972</c:v>
                </c:pt>
                <c:pt idx="15">
                  <c:v>302692</c:v>
                </c:pt>
                <c:pt idx="16">
                  <c:v>298349</c:v>
                </c:pt>
                <c:pt idx="17">
                  <c:v>299781</c:v>
                </c:pt>
                <c:pt idx="18">
                  <c:v>298794</c:v>
                </c:pt>
                <c:pt idx="19">
                  <c:v>301311</c:v>
                </c:pt>
                <c:pt idx="20">
                  <c:v>299132</c:v>
                </c:pt>
                <c:pt idx="21">
                  <c:v>299413</c:v>
                </c:pt>
                <c:pt idx="22">
                  <c:v>298849</c:v>
                </c:pt>
                <c:pt idx="23">
                  <c:v>302048</c:v>
                </c:pt>
                <c:pt idx="24">
                  <c:v>305103</c:v>
                </c:pt>
                <c:pt idx="25">
                  <c:v>308163</c:v>
                </c:pt>
                <c:pt idx="26">
                  <c:v>308629</c:v>
                </c:pt>
                <c:pt idx="27">
                  <c:v>310997</c:v>
                </c:pt>
                <c:pt idx="28">
                  <c:v>313117</c:v>
                </c:pt>
                <c:pt idx="29">
                  <c:v>315311</c:v>
                </c:pt>
                <c:pt idx="30">
                  <c:v>316564</c:v>
                </c:pt>
                <c:pt idx="31">
                  <c:v>317675</c:v>
                </c:pt>
                <c:pt idx="32">
                  <c:v>318758</c:v>
                </c:pt>
                <c:pt idx="33">
                  <c:v>312763</c:v>
                </c:pt>
                <c:pt idx="34">
                  <c:v>309239</c:v>
                </c:pt>
                <c:pt idx="35">
                  <c:v>303425</c:v>
                </c:pt>
                <c:pt idx="36">
                  <c:v>301784</c:v>
                </c:pt>
                <c:pt idx="37">
                  <c:v>297796</c:v>
                </c:pt>
                <c:pt idx="38">
                  <c:v>294273</c:v>
                </c:pt>
                <c:pt idx="39">
                  <c:v>288448</c:v>
                </c:pt>
                <c:pt idx="40">
                  <c:v>302173</c:v>
                </c:pt>
                <c:pt idx="41">
                  <c:v>312698</c:v>
                </c:pt>
                <c:pt idx="42">
                  <c:v>312042</c:v>
                </c:pt>
                <c:pt idx="43">
                  <c:v>313096</c:v>
                </c:pt>
                <c:pt idx="44">
                  <c:v>310897</c:v>
                </c:pt>
                <c:pt idx="45">
                  <c:v>310086</c:v>
                </c:pt>
                <c:pt idx="46">
                  <c:v>311502</c:v>
                </c:pt>
                <c:pt idx="47">
                  <c:v>316835</c:v>
                </c:pt>
                <c:pt idx="48">
                  <c:v>307295</c:v>
                </c:pt>
                <c:pt idx="49">
                  <c:v>296680</c:v>
                </c:pt>
                <c:pt idx="50">
                  <c:v>287825</c:v>
                </c:pt>
                <c:pt idx="51">
                  <c:v>331933</c:v>
                </c:pt>
                <c:pt idx="52">
                  <c:v>304715</c:v>
                </c:pt>
                <c:pt idx="53">
                  <c:v>279304</c:v>
                </c:pt>
                <c:pt idx="54">
                  <c:v>255124</c:v>
                </c:pt>
                <c:pt idx="55">
                  <c:v>240600</c:v>
                </c:pt>
                <c:pt idx="56">
                  <c:v>253491</c:v>
                </c:pt>
                <c:pt idx="57">
                  <c:v>276780</c:v>
                </c:pt>
                <c:pt idx="58">
                  <c:v>282331</c:v>
                </c:pt>
                <c:pt idx="59">
                  <c:v>286559</c:v>
                </c:pt>
                <c:pt idx="60">
                  <c:v>293402</c:v>
                </c:pt>
                <c:pt idx="61">
                  <c:v>293447</c:v>
                </c:pt>
                <c:pt idx="62">
                  <c:v>292281</c:v>
                </c:pt>
                <c:pt idx="63">
                  <c:v>289672</c:v>
                </c:pt>
                <c:pt idx="64">
                  <c:v>285405</c:v>
                </c:pt>
                <c:pt idx="65">
                  <c:v>281615</c:v>
                </c:pt>
                <c:pt idx="66">
                  <c:v>279560</c:v>
                </c:pt>
                <c:pt idx="67">
                  <c:v>273289</c:v>
                </c:pt>
                <c:pt idx="68">
                  <c:v>265449</c:v>
                </c:pt>
                <c:pt idx="69">
                  <c:v>266019</c:v>
                </c:pt>
                <c:pt idx="70">
                  <c:v>263889</c:v>
                </c:pt>
                <c:pt idx="71">
                  <c:v>264354</c:v>
                </c:pt>
                <c:pt idx="72">
                  <c:v>265067</c:v>
                </c:pt>
                <c:pt idx="73">
                  <c:v>265453</c:v>
                </c:pt>
                <c:pt idx="74">
                  <c:v>264807</c:v>
                </c:pt>
                <c:pt idx="75">
                  <c:v>268286</c:v>
                </c:pt>
                <c:pt idx="76">
                  <c:v>269736</c:v>
                </c:pt>
                <c:pt idx="77">
                  <c:v>269926</c:v>
                </c:pt>
                <c:pt idx="78">
                  <c:v>270943</c:v>
                </c:pt>
                <c:pt idx="79">
                  <c:v>270215</c:v>
                </c:pt>
                <c:pt idx="80">
                  <c:v>270542</c:v>
                </c:pt>
                <c:pt idx="81">
                  <c:v>269831</c:v>
                </c:pt>
                <c:pt idx="82">
                  <c:v>270520</c:v>
                </c:pt>
                <c:pt idx="83">
                  <c:v>265918</c:v>
                </c:pt>
                <c:pt idx="84">
                  <c:v>265135</c:v>
                </c:pt>
                <c:pt idx="85">
                  <c:v>261062</c:v>
                </c:pt>
                <c:pt idx="86">
                  <c:v>258202</c:v>
                </c:pt>
                <c:pt idx="87">
                  <c:v>253692</c:v>
                </c:pt>
                <c:pt idx="88">
                  <c:v>254527</c:v>
                </c:pt>
                <c:pt idx="89">
                  <c:v>252951</c:v>
                </c:pt>
                <c:pt idx="90">
                  <c:v>252179</c:v>
                </c:pt>
                <c:pt idx="91">
                  <c:v>251033</c:v>
                </c:pt>
                <c:pt idx="92">
                  <c:v>253250</c:v>
                </c:pt>
                <c:pt idx="93">
                  <c:v>271128</c:v>
                </c:pt>
                <c:pt idx="94">
                  <c:v>277193</c:v>
                </c:pt>
                <c:pt idx="95">
                  <c:v>283822</c:v>
                </c:pt>
                <c:pt idx="96">
                  <c:v>288665</c:v>
                </c:pt>
                <c:pt idx="97">
                  <c:v>296667</c:v>
                </c:pt>
                <c:pt idx="98">
                  <c:v>305689</c:v>
                </c:pt>
                <c:pt idx="99">
                  <c:v>306059</c:v>
                </c:pt>
                <c:pt idx="100">
                  <c:v>313852</c:v>
                </c:pt>
                <c:pt idx="101">
                  <c:v>313201</c:v>
                </c:pt>
                <c:pt idx="102">
                  <c:v>312999</c:v>
                </c:pt>
                <c:pt idx="103">
                  <c:v>310187</c:v>
                </c:pt>
                <c:pt idx="104">
                  <c:v>267096</c:v>
                </c:pt>
                <c:pt idx="105">
                  <c:v>241575</c:v>
                </c:pt>
                <c:pt idx="106">
                  <c:v>246733</c:v>
                </c:pt>
                <c:pt idx="107">
                  <c:v>22942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5</c:v>
                </c:pt>
                <c:pt idx="4">
                  <c:v>0.16</c:v>
                </c:pt>
                <c:pt idx="5">
                  <c:v>0.2</c:v>
                </c:pt>
                <c:pt idx="6">
                  <c:v>0.2</c:v>
                </c:pt>
                <c:pt idx="7">
                  <c:v>0.23</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c:v>
                </c:pt>
                <c:pt idx="24">
                  <c:v>0</c:v>
                </c:pt>
                <c:pt idx="25">
                  <c:v>0</c:v>
                </c:pt>
                <c:pt idx="26">
                  <c:v>0</c:v>
                </c:pt>
                <c:pt idx="27">
                  <c:v>0.08</c:v>
                </c:pt>
                <c:pt idx="28">
                  <c:v>0.18</c:v>
                </c:pt>
                <c:pt idx="29">
                  <c:v>0.15</c:v>
                </c:pt>
                <c:pt idx="30">
                  <c:v>0.14000000000000001</c:v>
                </c:pt>
                <c:pt idx="31">
                  <c:v>0.13</c:v>
                </c:pt>
                <c:pt idx="32">
                  <c:v>0.13</c:v>
                </c:pt>
                <c:pt idx="33">
                  <c:v>0.14000000000000001</c:v>
                </c:pt>
                <c:pt idx="34">
                  <c:v>0.15</c:v>
                </c:pt>
                <c:pt idx="35">
                  <c:v>0.06</c:v>
                </c:pt>
                <c:pt idx="36">
                  <c:v>0.01</c:v>
                </c:pt>
                <c:pt idx="37">
                  <c:v>0</c:v>
                </c:pt>
                <c:pt idx="38">
                  <c:v>0.06</c:v>
                </c:pt>
                <c:pt idx="39">
                  <c:v>0.11</c:v>
                </c:pt>
                <c:pt idx="40">
                  <c:v>0.24</c:v>
                </c:pt>
                <c:pt idx="41">
                  <c:v>0.27</c:v>
                </c:pt>
                <c:pt idx="42">
                  <c:v>0.26</c:v>
                </c:pt>
                <c:pt idx="43">
                  <c:v>0.24</c:v>
                </c:pt>
                <c:pt idx="44">
                  <c:v>0.15</c:v>
                </c:pt>
                <c:pt idx="45">
                  <c:v>0.17</c:v>
                </c:pt>
                <c:pt idx="46">
                  <c:v>0.26</c:v>
                </c:pt>
                <c:pt idx="47">
                  <c:v>0.25</c:v>
                </c:pt>
                <c:pt idx="48">
                  <c:v>0.28999999999999998</c:v>
                </c:pt>
                <c:pt idx="49">
                  <c:v>0.45</c:v>
                </c:pt>
                <c:pt idx="50">
                  <c:v>0.55000000000000004</c:v>
                </c:pt>
                <c:pt idx="51">
                  <c:v>0.71</c:v>
                </c:pt>
                <c:pt idx="52">
                  <c:v>0.12</c:v>
                </c:pt>
                <c:pt idx="53">
                  <c:v>0.21</c:v>
                </c:pt>
                <c:pt idx="54">
                  <c:v>0.13</c:v>
                </c:pt>
                <c:pt idx="55">
                  <c:v>0.06</c:v>
                </c:pt>
                <c:pt idx="56">
                  <c:v>0.17</c:v>
                </c:pt>
                <c:pt idx="57">
                  <c:v>0.28999999999999998</c:v>
                </c:pt>
                <c:pt idx="58">
                  <c:v>0.35</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5</c:v>
                </c:pt>
                <c:pt idx="107">
                  <c:v>0.7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c:v>
                </c:pt>
                <c:pt idx="1">
                  <c:v>289</c:v>
                </c:pt>
                <c:pt idx="2">
                  <c:v>390</c:v>
                </c:pt>
                <c:pt idx="3">
                  <c:v>361</c:v>
                </c:pt>
                <c:pt idx="4">
                  <c:v>346</c:v>
                </c:pt>
                <c:pt idx="5">
                  <c:v>338</c:v>
                </c:pt>
                <c:pt idx="6">
                  <c:v>341</c:v>
                </c:pt>
                <c:pt idx="7">
                  <c:v>223</c:v>
                </c:pt>
                <c:pt idx="8">
                  <c:v>599</c:v>
                </c:pt>
                <c:pt idx="9">
                  <c:v>436</c:v>
                </c:pt>
                <c:pt idx="10">
                  <c:v>349</c:v>
                </c:pt>
                <c:pt idx="11">
                  <c:v>504</c:v>
                </c:pt>
                <c:pt idx="12">
                  <c:v>314</c:v>
                </c:pt>
                <c:pt idx="13">
                  <c:v>194</c:v>
                </c:pt>
                <c:pt idx="14">
                  <c:v>14684</c:v>
                </c:pt>
                <c:pt idx="15">
                  <c:v>13661</c:v>
                </c:pt>
                <c:pt idx="16">
                  <c:v>6327</c:v>
                </c:pt>
                <c:pt idx="17">
                  <c:v>5020</c:v>
                </c:pt>
                <c:pt idx="18">
                  <c:v>3852</c:v>
                </c:pt>
                <c:pt idx="19">
                  <c:v>2665</c:v>
                </c:pt>
                <c:pt idx="20">
                  <c:v>2271</c:v>
                </c:pt>
                <c:pt idx="21">
                  <c:v>1480</c:v>
                </c:pt>
                <c:pt idx="22">
                  <c:v>1853</c:v>
                </c:pt>
                <c:pt idx="23">
                  <c:v>889</c:v>
                </c:pt>
                <c:pt idx="24">
                  <c:v>1166</c:v>
                </c:pt>
                <c:pt idx="25">
                  <c:v>885</c:v>
                </c:pt>
                <c:pt idx="26">
                  <c:v>1300</c:v>
                </c:pt>
                <c:pt idx="27">
                  <c:v>756</c:v>
                </c:pt>
                <c:pt idx="28">
                  <c:v>996</c:v>
                </c:pt>
                <c:pt idx="29">
                  <c:v>1199</c:v>
                </c:pt>
                <c:pt idx="30">
                  <c:v>1116</c:v>
                </c:pt>
                <c:pt idx="31">
                  <c:v>810</c:v>
                </c:pt>
                <c:pt idx="32">
                  <c:v>1144</c:v>
                </c:pt>
                <c:pt idx="33">
                  <c:v>803</c:v>
                </c:pt>
                <c:pt idx="34">
                  <c:v>952</c:v>
                </c:pt>
                <c:pt idx="35">
                  <c:v>650</c:v>
                </c:pt>
                <c:pt idx="36">
                  <c:v>1001</c:v>
                </c:pt>
                <c:pt idx="37">
                  <c:v>835</c:v>
                </c:pt>
                <c:pt idx="38">
                  <c:v>1540</c:v>
                </c:pt>
                <c:pt idx="39">
                  <c:v>2257</c:v>
                </c:pt>
                <c:pt idx="40">
                  <c:v>1749</c:v>
                </c:pt>
                <c:pt idx="41">
                  <c:v>2132</c:v>
                </c:pt>
                <c:pt idx="42">
                  <c:v>2466</c:v>
                </c:pt>
                <c:pt idx="43">
                  <c:v>2394</c:v>
                </c:pt>
                <c:pt idx="44">
                  <c:v>2310</c:v>
                </c:pt>
                <c:pt idx="45">
                  <c:v>2677</c:v>
                </c:pt>
                <c:pt idx="46">
                  <c:v>2687</c:v>
                </c:pt>
                <c:pt idx="47">
                  <c:v>2611</c:v>
                </c:pt>
                <c:pt idx="48">
                  <c:v>3008</c:v>
                </c:pt>
                <c:pt idx="49">
                  <c:v>2530</c:v>
                </c:pt>
                <c:pt idx="50">
                  <c:v>2993</c:v>
                </c:pt>
                <c:pt idx="51">
                  <c:v>2271</c:v>
                </c:pt>
                <c:pt idx="52">
                  <c:v>2349</c:v>
                </c:pt>
                <c:pt idx="53">
                  <c:v>2851</c:v>
                </c:pt>
                <c:pt idx="54">
                  <c:v>2408</c:v>
                </c:pt>
                <c:pt idx="55">
                  <c:v>2376</c:v>
                </c:pt>
                <c:pt idx="56">
                  <c:v>2397</c:v>
                </c:pt>
                <c:pt idx="57">
                  <c:v>2814</c:v>
                </c:pt>
                <c:pt idx="58">
                  <c:v>2078</c:v>
                </c:pt>
                <c:pt idx="59">
                  <c:v>3074</c:v>
                </c:pt>
                <c:pt idx="60">
                  <c:v>2472</c:v>
                </c:pt>
                <c:pt idx="61">
                  <c:v>2591</c:v>
                </c:pt>
                <c:pt idx="62">
                  <c:v>2835</c:v>
                </c:pt>
                <c:pt idx="63">
                  <c:v>2092</c:v>
                </c:pt>
                <c:pt idx="64">
                  <c:v>2509</c:v>
                </c:pt>
                <c:pt idx="65">
                  <c:v>2356</c:v>
                </c:pt>
                <c:pt idx="66">
                  <c:v>2038</c:v>
                </c:pt>
                <c:pt idx="67">
                  <c:v>2512</c:v>
                </c:pt>
                <c:pt idx="68">
                  <c:v>2372</c:v>
                </c:pt>
                <c:pt idx="69">
                  <c:v>2367</c:v>
                </c:pt>
                <c:pt idx="70">
                  <c:v>2430</c:v>
                </c:pt>
                <c:pt idx="71">
                  <c:v>2105</c:v>
                </c:pt>
                <c:pt idx="72">
                  <c:v>2085</c:v>
                </c:pt>
                <c:pt idx="73">
                  <c:v>1972</c:v>
                </c:pt>
                <c:pt idx="74">
                  <c:v>1808</c:v>
                </c:pt>
                <c:pt idx="75">
                  <c:v>2546</c:v>
                </c:pt>
                <c:pt idx="76">
                  <c:v>2288</c:v>
                </c:pt>
                <c:pt idx="77">
                  <c:v>2026</c:v>
                </c:pt>
                <c:pt idx="78">
                  <c:v>2136</c:v>
                </c:pt>
                <c:pt idx="79">
                  <c:v>1847</c:v>
                </c:pt>
                <c:pt idx="80">
                  <c:v>1362</c:v>
                </c:pt>
                <c:pt idx="81">
                  <c:v>1735</c:v>
                </c:pt>
                <c:pt idx="82">
                  <c:v>2050</c:v>
                </c:pt>
                <c:pt idx="83">
                  <c:v>1671</c:v>
                </c:pt>
                <c:pt idx="84">
                  <c:v>1892</c:v>
                </c:pt>
                <c:pt idx="85">
                  <c:v>2134</c:v>
                </c:pt>
                <c:pt idx="86">
                  <c:v>1425</c:v>
                </c:pt>
                <c:pt idx="87">
                  <c:v>2174</c:v>
                </c:pt>
                <c:pt idx="88">
                  <c:v>1788</c:v>
                </c:pt>
                <c:pt idx="89">
                  <c:v>1939</c:v>
                </c:pt>
                <c:pt idx="90">
                  <c:v>2250</c:v>
                </c:pt>
                <c:pt idx="91">
                  <c:v>2119</c:v>
                </c:pt>
                <c:pt idx="92">
                  <c:v>2042</c:v>
                </c:pt>
                <c:pt idx="93">
                  <c:v>2102</c:v>
                </c:pt>
                <c:pt idx="94">
                  <c:v>1469</c:v>
                </c:pt>
                <c:pt idx="95">
                  <c:v>1704</c:v>
                </c:pt>
                <c:pt idx="96">
                  <c:v>1823</c:v>
                </c:pt>
                <c:pt idx="97">
                  <c:v>1615</c:v>
                </c:pt>
                <c:pt idx="98">
                  <c:v>1911</c:v>
                </c:pt>
                <c:pt idx="99">
                  <c:v>1623</c:v>
                </c:pt>
                <c:pt idx="100">
                  <c:v>2014</c:v>
                </c:pt>
                <c:pt idx="101">
                  <c:v>27252</c:v>
                </c:pt>
                <c:pt idx="102">
                  <c:v>36630</c:v>
                </c:pt>
                <c:pt idx="103">
                  <c:v>22209</c:v>
                </c:pt>
                <c:pt idx="104">
                  <c:v>24389</c:v>
                </c:pt>
                <c:pt idx="105">
                  <c:v>13282</c:v>
                </c:pt>
                <c:pt idx="106">
                  <c:v>6388</c:v>
                </c:pt>
                <c:pt idx="107">
                  <c:v>34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7449</c:v>
                </c:pt>
                <c:pt idx="1">
                  <c:v>118580</c:v>
                </c:pt>
                <c:pt idx="2">
                  <c:v>129636</c:v>
                </c:pt>
                <c:pt idx="3">
                  <c:v>132518</c:v>
                </c:pt>
                <c:pt idx="4">
                  <c:v>140432</c:v>
                </c:pt>
                <c:pt idx="5">
                  <c:v>135427</c:v>
                </c:pt>
                <c:pt idx="6">
                  <c:v>121349</c:v>
                </c:pt>
                <c:pt idx="7">
                  <c:v>114058</c:v>
                </c:pt>
                <c:pt idx="8">
                  <c:v>110312</c:v>
                </c:pt>
                <c:pt idx="9">
                  <c:v>105273</c:v>
                </c:pt>
                <c:pt idx="10">
                  <c:v>80831</c:v>
                </c:pt>
                <c:pt idx="11">
                  <c:v>66691</c:v>
                </c:pt>
                <c:pt idx="12">
                  <c:v>52625</c:v>
                </c:pt>
                <c:pt idx="13">
                  <c:v>44976</c:v>
                </c:pt>
                <c:pt idx="14">
                  <c:v>42664</c:v>
                </c:pt>
                <c:pt idx="15">
                  <c:v>114762</c:v>
                </c:pt>
                <c:pt idx="16">
                  <c:v>174796</c:v>
                </c:pt>
                <c:pt idx="17">
                  <c:v>198686</c:v>
                </c:pt>
                <c:pt idx="18">
                  <c:v>192391</c:v>
                </c:pt>
                <c:pt idx="19">
                  <c:v>190386</c:v>
                </c:pt>
                <c:pt idx="20">
                  <c:v>198412</c:v>
                </c:pt>
                <c:pt idx="21">
                  <c:v>210286</c:v>
                </c:pt>
                <c:pt idx="22">
                  <c:v>210302</c:v>
                </c:pt>
                <c:pt idx="23">
                  <c:v>205767</c:v>
                </c:pt>
                <c:pt idx="24">
                  <c:v>201057</c:v>
                </c:pt>
                <c:pt idx="25">
                  <c:v>209287</c:v>
                </c:pt>
                <c:pt idx="26">
                  <c:v>218140</c:v>
                </c:pt>
                <c:pt idx="27">
                  <c:v>214418</c:v>
                </c:pt>
                <c:pt idx="28">
                  <c:v>210161</c:v>
                </c:pt>
                <c:pt idx="29">
                  <c:v>204148</c:v>
                </c:pt>
                <c:pt idx="30">
                  <c:v>225045</c:v>
                </c:pt>
                <c:pt idx="31">
                  <c:v>212382</c:v>
                </c:pt>
                <c:pt idx="32">
                  <c:v>212647</c:v>
                </c:pt>
                <c:pt idx="33">
                  <c:v>207165</c:v>
                </c:pt>
                <c:pt idx="34">
                  <c:v>209386</c:v>
                </c:pt>
                <c:pt idx="35">
                  <c:v>206971</c:v>
                </c:pt>
                <c:pt idx="36">
                  <c:v>191883</c:v>
                </c:pt>
                <c:pt idx="37">
                  <c:v>194408</c:v>
                </c:pt>
                <c:pt idx="38">
                  <c:v>193910</c:v>
                </c:pt>
                <c:pt idx="39">
                  <c:v>202729</c:v>
                </c:pt>
                <c:pt idx="40">
                  <c:v>191891</c:v>
                </c:pt>
                <c:pt idx="41">
                  <c:v>189301</c:v>
                </c:pt>
                <c:pt idx="42">
                  <c:v>190466</c:v>
                </c:pt>
                <c:pt idx="43">
                  <c:v>198310</c:v>
                </c:pt>
                <c:pt idx="44">
                  <c:v>202758</c:v>
                </c:pt>
                <c:pt idx="45">
                  <c:v>191075</c:v>
                </c:pt>
                <c:pt idx="46">
                  <c:v>181374</c:v>
                </c:pt>
                <c:pt idx="47">
                  <c:v>196642</c:v>
                </c:pt>
                <c:pt idx="48">
                  <c:v>206266</c:v>
                </c:pt>
                <c:pt idx="49">
                  <c:v>200213</c:v>
                </c:pt>
                <c:pt idx="50">
                  <c:v>231648</c:v>
                </c:pt>
                <c:pt idx="51">
                  <c:v>179626</c:v>
                </c:pt>
                <c:pt idx="52">
                  <c:v>202782</c:v>
                </c:pt>
                <c:pt idx="53">
                  <c:v>189927</c:v>
                </c:pt>
                <c:pt idx="54">
                  <c:v>175137</c:v>
                </c:pt>
                <c:pt idx="55">
                  <c:v>183408</c:v>
                </c:pt>
                <c:pt idx="56">
                  <c:v>189286</c:v>
                </c:pt>
                <c:pt idx="57">
                  <c:v>189541</c:v>
                </c:pt>
                <c:pt idx="58">
                  <c:v>181663</c:v>
                </c:pt>
                <c:pt idx="59">
                  <c:v>191029</c:v>
                </c:pt>
                <c:pt idx="60">
                  <c:v>199637</c:v>
                </c:pt>
                <c:pt idx="61">
                  <c:v>200806</c:v>
                </c:pt>
                <c:pt idx="62">
                  <c:v>190196</c:v>
                </c:pt>
                <c:pt idx="63">
                  <c:v>181868</c:v>
                </c:pt>
                <c:pt idx="64">
                  <c:v>188596</c:v>
                </c:pt>
                <c:pt idx="65">
                  <c:v>195114</c:v>
                </c:pt>
                <c:pt idx="66">
                  <c:v>193847</c:v>
                </c:pt>
                <c:pt idx="67">
                  <c:v>193715</c:v>
                </c:pt>
                <c:pt idx="68">
                  <c:v>188783</c:v>
                </c:pt>
                <c:pt idx="69">
                  <c:v>203187</c:v>
                </c:pt>
                <c:pt idx="70">
                  <c:v>196298</c:v>
                </c:pt>
                <c:pt idx="71">
                  <c:v>182308</c:v>
                </c:pt>
                <c:pt idx="72">
                  <c:v>194068</c:v>
                </c:pt>
                <c:pt idx="73">
                  <c:v>191023</c:v>
                </c:pt>
                <c:pt idx="74">
                  <c:v>210756</c:v>
                </c:pt>
                <c:pt idx="75">
                  <c:v>195860</c:v>
                </c:pt>
                <c:pt idx="76">
                  <c:v>193696</c:v>
                </c:pt>
                <c:pt idx="77">
                  <c:v>182625</c:v>
                </c:pt>
                <c:pt idx="78">
                  <c:v>188323</c:v>
                </c:pt>
                <c:pt idx="79">
                  <c:v>164174</c:v>
                </c:pt>
                <c:pt idx="80">
                  <c:v>163425</c:v>
                </c:pt>
                <c:pt idx="81">
                  <c:v>174132</c:v>
                </c:pt>
                <c:pt idx="82">
                  <c:v>198568</c:v>
                </c:pt>
                <c:pt idx="83">
                  <c:v>195675</c:v>
                </c:pt>
                <c:pt idx="84">
                  <c:v>197556</c:v>
                </c:pt>
                <c:pt idx="85">
                  <c:v>195046</c:v>
                </c:pt>
                <c:pt idx="86">
                  <c:v>198806</c:v>
                </c:pt>
                <c:pt idx="87">
                  <c:v>199567</c:v>
                </c:pt>
                <c:pt idx="88">
                  <c:v>185792</c:v>
                </c:pt>
                <c:pt idx="89">
                  <c:v>187388</c:v>
                </c:pt>
                <c:pt idx="90">
                  <c:v>181211</c:v>
                </c:pt>
                <c:pt idx="91">
                  <c:v>201713</c:v>
                </c:pt>
                <c:pt idx="92">
                  <c:v>182390</c:v>
                </c:pt>
                <c:pt idx="93">
                  <c:v>187750</c:v>
                </c:pt>
                <c:pt idx="94">
                  <c:v>181232</c:v>
                </c:pt>
                <c:pt idx="95">
                  <c:v>187586</c:v>
                </c:pt>
                <c:pt idx="96">
                  <c:v>193735</c:v>
                </c:pt>
                <c:pt idx="97">
                  <c:v>183629</c:v>
                </c:pt>
                <c:pt idx="98">
                  <c:v>179829</c:v>
                </c:pt>
                <c:pt idx="99">
                  <c:v>166995</c:v>
                </c:pt>
                <c:pt idx="100">
                  <c:v>191063</c:v>
                </c:pt>
                <c:pt idx="101">
                  <c:v>164313</c:v>
                </c:pt>
                <c:pt idx="102">
                  <c:v>156797</c:v>
                </c:pt>
                <c:pt idx="103">
                  <c:v>143184</c:v>
                </c:pt>
                <c:pt idx="104">
                  <c:v>143522</c:v>
                </c:pt>
                <c:pt idx="105">
                  <c:v>130832</c:v>
                </c:pt>
                <c:pt idx="106">
                  <c:v>155921</c:v>
                </c:pt>
                <c:pt idx="107">
                  <c:v>18069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17894</c:v>
                </c:pt>
                <c:pt idx="1">
                  <c:v>118869</c:v>
                </c:pt>
                <c:pt idx="2">
                  <c:v>130026</c:v>
                </c:pt>
                <c:pt idx="3">
                  <c:v>132879</c:v>
                </c:pt>
                <c:pt idx="4">
                  <c:v>140778</c:v>
                </c:pt>
                <c:pt idx="5">
                  <c:v>135765</c:v>
                </c:pt>
                <c:pt idx="6">
                  <c:v>121690</c:v>
                </c:pt>
                <c:pt idx="7">
                  <c:v>114281</c:v>
                </c:pt>
                <c:pt idx="8">
                  <c:v>110911</c:v>
                </c:pt>
                <c:pt idx="9">
                  <c:v>105709</c:v>
                </c:pt>
                <c:pt idx="10">
                  <c:v>81180</c:v>
                </c:pt>
                <c:pt idx="11">
                  <c:v>67195</c:v>
                </c:pt>
                <c:pt idx="12">
                  <c:v>52939</c:v>
                </c:pt>
                <c:pt idx="13">
                  <c:v>45170</c:v>
                </c:pt>
                <c:pt idx="14">
                  <c:v>57348</c:v>
                </c:pt>
                <c:pt idx="15">
                  <c:v>128423</c:v>
                </c:pt>
                <c:pt idx="16">
                  <c:v>181123</c:v>
                </c:pt>
                <c:pt idx="17">
                  <c:v>203706</c:v>
                </c:pt>
                <c:pt idx="18">
                  <c:v>196243</c:v>
                </c:pt>
                <c:pt idx="19">
                  <c:v>193051</c:v>
                </c:pt>
                <c:pt idx="20">
                  <c:v>200683</c:v>
                </c:pt>
                <c:pt idx="21">
                  <c:v>211766</c:v>
                </c:pt>
                <c:pt idx="22">
                  <c:v>212155</c:v>
                </c:pt>
                <c:pt idx="23">
                  <c:v>206656</c:v>
                </c:pt>
                <c:pt idx="24">
                  <c:v>202223</c:v>
                </c:pt>
                <c:pt idx="25">
                  <c:v>210172</c:v>
                </c:pt>
                <c:pt idx="26">
                  <c:v>219440</c:v>
                </c:pt>
                <c:pt idx="27">
                  <c:v>215174</c:v>
                </c:pt>
                <c:pt idx="28">
                  <c:v>211157</c:v>
                </c:pt>
                <c:pt idx="29">
                  <c:v>205347</c:v>
                </c:pt>
                <c:pt idx="30">
                  <c:v>226161</c:v>
                </c:pt>
                <c:pt idx="31">
                  <c:v>213192</c:v>
                </c:pt>
                <c:pt idx="32">
                  <c:v>213791</c:v>
                </c:pt>
                <c:pt idx="33">
                  <c:v>207968</c:v>
                </c:pt>
                <c:pt idx="34">
                  <c:v>210338</c:v>
                </c:pt>
                <c:pt idx="35">
                  <c:v>207621</c:v>
                </c:pt>
                <c:pt idx="36">
                  <c:v>192884</c:v>
                </c:pt>
                <c:pt idx="37">
                  <c:v>195243</c:v>
                </c:pt>
                <c:pt idx="38">
                  <c:v>195450</c:v>
                </c:pt>
                <c:pt idx="39">
                  <c:v>204986</c:v>
                </c:pt>
                <c:pt idx="40">
                  <c:v>193640</c:v>
                </c:pt>
                <c:pt idx="41">
                  <c:v>191433</c:v>
                </c:pt>
                <c:pt idx="42">
                  <c:v>192932</c:v>
                </c:pt>
                <c:pt idx="43">
                  <c:v>200704</c:v>
                </c:pt>
                <c:pt idx="44">
                  <c:v>205068</c:v>
                </c:pt>
                <c:pt idx="45">
                  <c:v>193752</c:v>
                </c:pt>
                <c:pt idx="46">
                  <c:v>184061</c:v>
                </c:pt>
                <c:pt idx="47">
                  <c:v>199253</c:v>
                </c:pt>
                <c:pt idx="48">
                  <c:v>209274</c:v>
                </c:pt>
                <c:pt idx="49">
                  <c:v>202743</c:v>
                </c:pt>
                <c:pt idx="50">
                  <c:v>234641</c:v>
                </c:pt>
                <c:pt idx="51">
                  <c:v>181897</c:v>
                </c:pt>
                <c:pt idx="52">
                  <c:v>205131</c:v>
                </c:pt>
                <c:pt idx="53">
                  <c:v>192778</c:v>
                </c:pt>
                <c:pt idx="54">
                  <c:v>177545</c:v>
                </c:pt>
                <c:pt idx="55">
                  <c:v>185784</c:v>
                </c:pt>
                <c:pt idx="56">
                  <c:v>191683</c:v>
                </c:pt>
                <c:pt idx="57">
                  <c:v>192355</c:v>
                </c:pt>
                <c:pt idx="58">
                  <c:v>183741</c:v>
                </c:pt>
                <c:pt idx="59">
                  <c:v>194103</c:v>
                </c:pt>
                <c:pt idx="60">
                  <c:v>202109</c:v>
                </c:pt>
                <c:pt idx="61">
                  <c:v>203397</c:v>
                </c:pt>
                <c:pt idx="62">
                  <c:v>193031</c:v>
                </c:pt>
                <c:pt idx="63">
                  <c:v>183960</c:v>
                </c:pt>
                <c:pt idx="64">
                  <c:v>191105</c:v>
                </c:pt>
                <c:pt idx="65">
                  <c:v>197470</c:v>
                </c:pt>
                <c:pt idx="66">
                  <c:v>195885</c:v>
                </c:pt>
                <c:pt idx="67">
                  <c:v>196227</c:v>
                </c:pt>
                <c:pt idx="68">
                  <c:v>191155</c:v>
                </c:pt>
                <c:pt idx="69">
                  <c:v>205554</c:v>
                </c:pt>
                <c:pt idx="70">
                  <c:v>198728</c:v>
                </c:pt>
                <c:pt idx="71">
                  <c:v>184413</c:v>
                </c:pt>
                <c:pt idx="72">
                  <c:v>196153</c:v>
                </c:pt>
                <c:pt idx="73">
                  <c:v>192995</c:v>
                </c:pt>
                <c:pt idx="74">
                  <c:v>212564</c:v>
                </c:pt>
                <c:pt idx="75">
                  <c:v>198406</c:v>
                </c:pt>
                <c:pt idx="76">
                  <c:v>195984</c:v>
                </c:pt>
                <c:pt idx="77">
                  <c:v>184651</c:v>
                </c:pt>
                <c:pt idx="78">
                  <c:v>190459</c:v>
                </c:pt>
                <c:pt idx="79">
                  <c:v>166021</c:v>
                </c:pt>
                <c:pt idx="80">
                  <c:v>164787</c:v>
                </c:pt>
                <c:pt idx="81">
                  <c:v>175867</c:v>
                </c:pt>
                <c:pt idx="82">
                  <c:v>200618</c:v>
                </c:pt>
                <c:pt idx="83">
                  <c:v>197346</c:v>
                </c:pt>
                <c:pt idx="84">
                  <c:v>199448</c:v>
                </c:pt>
                <c:pt idx="85">
                  <c:v>197180</c:v>
                </c:pt>
                <c:pt idx="86">
                  <c:v>200231</c:v>
                </c:pt>
                <c:pt idx="87">
                  <c:v>201741</c:v>
                </c:pt>
                <c:pt idx="88">
                  <c:v>187580</c:v>
                </c:pt>
                <c:pt idx="89">
                  <c:v>189327</c:v>
                </c:pt>
                <c:pt idx="90">
                  <c:v>183461</c:v>
                </c:pt>
                <c:pt idx="91">
                  <c:v>203832</c:v>
                </c:pt>
                <c:pt idx="92">
                  <c:v>184432</c:v>
                </c:pt>
                <c:pt idx="93">
                  <c:v>189852</c:v>
                </c:pt>
                <c:pt idx="94">
                  <c:v>182701</c:v>
                </c:pt>
                <c:pt idx="95">
                  <c:v>189290</c:v>
                </c:pt>
                <c:pt idx="96">
                  <c:v>195558</c:v>
                </c:pt>
                <c:pt idx="97">
                  <c:v>185244</c:v>
                </c:pt>
                <c:pt idx="98">
                  <c:v>181740</c:v>
                </c:pt>
                <c:pt idx="99">
                  <c:v>168618</c:v>
                </c:pt>
                <c:pt idx="100">
                  <c:v>193077</c:v>
                </c:pt>
                <c:pt idx="101">
                  <c:v>191565</c:v>
                </c:pt>
                <c:pt idx="102">
                  <c:v>193427</c:v>
                </c:pt>
                <c:pt idx="103">
                  <c:v>165393</c:v>
                </c:pt>
                <c:pt idx="104">
                  <c:v>167911</c:v>
                </c:pt>
                <c:pt idx="105">
                  <c:v>144114</c:v>
                </c:pt>
                <c:pt idx="106">
                  <c:v>162309</c:v>
                </c:pt>
                <c:pt idx="107">
                  <c:v>1841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125147</c:v>
                </c:pt>
                <c:pt idx="1">
                  <c:v>128319</c:v>
                </c:pt>
                <c:pt idx="2">
                  <c:v>129672</c:v>
                </c:pt>
                <c:pt idx="3">
                  <c:v>128565</c:v>
                </c:pt>
                <c:pt idx="4">
                  <c:v>126870</c:v>
                </c:pt>
                <c:pt idx="5">
                  <c:v>125977</c:v>
                </c:pt>
                <c:pt idx="6">
                  <c:v>124398</c:v>
                </c:pt>
                <c:pt idx="7">
                  <c:v>118226</c:v>
                </c:pt>
                <c:pt idx="8">
                  <c:v>109979</c:v>
                </c:pt>
                <c:pt idx="9">
                  <c:v>98939</c:v>
                </c:pt>
                <c:pt idx="10">
                  <c:v>87587</c:v>
                </c:pt>
                <c:pt idx="11">
                  <c:v>77664</c:v>
                </c:pt>
                <c:pt idx="12">
                  <c:v>67250</c:v>
                </c:pt>
                <c:pt idx="13">
                  <c:v>55311</c:v>
                </c:pt>
                <c:pt idx="14">
                  <c:v>167776</c:v>
                </c:pt>
                <c:pt idx="15">
                  <c:v>171512</c:v>
                </c:pt>
                <c:pt idx="16">
                  <c:v>165063</c:v>
                </c:pt>
                <c:pt idx="17">
                  <c:v>168676</c:v>
                </c:pt>
                <c:pt idx="18">
                  <c:v>171362</c:v>
                </c:pt>
                <c:pt idx="19">
                  <c:v>191929</c:v>
                </c:pt>
                <c:pt idx="20">
                  <c:v>202229</c:v>
                </c:pt>
                <c:pt idx="21">
                  <c:v>204241</c:v>
                </c:pt>
                <c:pt idx="22">
                  <c:v>204749</c:v>
                </c:pt>
                <c:pt idx="23">
                  <c:v>207221</c:v>
                </c:pt>
                <c:pt idx="24">
                  <c:v>209139</c:v>
                </c:pt>
                <c:pt idx="25">
                  <c:v>208922</c:v>
                </c:pt>
                <c:pt idx="26">
                  <c:v>210355</c:v>
                </c:pt>
                <c:pt idx="27">
                  <c:v>216087</c:v>
                </c:pt>
                <c:pt idx="28">
                  <c:v>216032</c:v>
                </c:pt>
                <c:pt idx="29">
                  <c:v>216418</c:v>
                </c:pt>
                <c:pt idx="30">
                  <c:v>214947</c:v>
                </c:pt>
                <c:pt idx="31">
                  <c:v>213100</c:v>
                </c:pt>
                <c:pt idx="32">
                  <c:v>212118</c:v>
                </c:pt>
                <c:pt idx="33">
                  <c:v>209810</c:v>
                </c:pt>
                <c:pt idx="34">
                  <c:v>208538</c:v>
                </c:pt>
                <c:pt idx="35">
                  <c:v>204698</c:v>
                </c:pt>
                <c:pt idx="36">
                  <c:v>203684</c:v>
                </c:pt>
                <c:pt idx="37">
                  <c:v>201204</c:v>
                </c:pt>
                <c:pt idx="38">
                  <c:v>199148</c:v>
                </c:pt>
                <c:pt idx="39">
                  <c:v>197030</c:v>
                </c:pt>
                <c:pt idx="40">
                  <c:v>196219</c:v>
                </c:pt>
                <c:pt idx="41">
                  <c:v>197723</c:v>
                </c:pt>
                <c:pt idx="42">
                  <c:v>197565</c:v>
                </c:pt>
                <c:pt idx="43">
                  <c:v>196172</c:v>
                </c:pt>
                <c:pt idx="44">
                  <c:v>195455</c:v>
                </c:pt>
                <c:pt idx="45">
                  <c:v>197410</c:v>
                </c:pt>
                <c:pt idx="46">
                  <c:v>198770</c:v>
                </c:pt>
                <c:pt idx="47">
                  <c:v>204044</c:v>
                </c:pt>
                <c:pt idx="48">
                  <c:v>201673</c:v>
                </c:pt>
                <c:pt idx="49">
                  <c:v>201589</c:v>
                </c:pt>
                <c:pt idx="50">
                  <c:v>201451</c:v>
                </c:pt>
                <c:pt idx="51">
                  <c:v>200619</c:v>
                </c:pt>
                <c:pt idx="52">
                  <c:v>198923</c:v>
                </c:pt>
                <c:pt idx="53">
                  <c:v>196740</c:v>
                </c:pt>
                <c:pt idx="54">
                  <c:v>195482</c:v>
                </c:pt>
                <c:pt idx="55">
                  <c:v>189139</c:v>
                </c:pt>
                <c:pt idx="56">
                  <c:v>190598</c:v>
                </c:pt>
                <c:pt idx="57">
                  <c:v>190223</c:v>
                </c:pt>
                <c:pt idx="58">
                  <c:v>191513</c:v>
                </c:pt>
                <c:pt idx="59">
                  <c:v>193453</c:v>
                </c:pt>
                <c:pt idx="60">
                  <c:v>193234</c:v>
                </c:pt>
                <c:pt idx="61">
                  <c:v>193165</c:v>
                </c:pt>
                <c:pt idx="62">
                  <c:v>193746</c:v>
                </c:pt>
                <c:pt idx="63">
                  <c:v>195256</c:v>
                </c:pt>
                <c:pt idx="64">
                  <c:v>195495</c:v>
                </c:pt>
                <c:pt idx="65">
                  <c:v>194114</c:v>
                </c:pt>
                <c:pt idx="66">
                  <c:v>194422</c:v>
                </c:pt>
                <c:pt idx="67">
                  <c:v>195126</c:v>
                </c:pt>
                <c:pt idx="68">
                  <c:v>195137</c:v>
                </c:pt>
                <c:pt idx="69">
                  <c:v>195752</c:v>
                </c:pt>
                <c:pt idx="70">
                  <c:v>195195</c:v>
                </c:pt>
                <c:pt idx="71">
                  <c:v>197304</c:v>
                </c:pt>
                <c:pt idx="72">
                  <c:v>197640</c:v>
                </c:pt>
                <c:pt idx="73">
                  <c:v>198203</c:v>
                </c:pt>
                <c:pt idx="74">
                  <c:v>195619</c:v>
                </c:pt>
                <c:pt idx="75">
                  <c:v>194589</c:v>
                </c:pt>
                <c:pt idx="76">
                  <c:v>192300</c:v>
                </c:pt>
                <c:pt idx="77">
                  <c:v>188392</c:v>
                </c:pt>
                <c:pt idx="78">
                  <c:v>186255</c:v>
                </c:pt>
                <c:pt idx="79">
                  <c:v>184797</c:v>
                </c:pt>
                <c:pt idx="80">
                  <c:v>184649</c:v>
                </c:pt>
                <c:pt idx="81">
                  <c:v>185046</c:v>
                </c:pt>
                <c:pt idx="82">
                  <c:v>186586</c:v>
                </c:pt>
                <c:pt idx="83">
                  <c:v>187783</c:v>
                </c:pt>
                <c:pt idx="84">
                  <c:v>192276</c:v>
                </c:pt>
                <c:pt idx="85">
                  <c:v>195194</c:v>
                </c:pt>
                <c:pt idx="86">
                  <c:v>196827</c:v>
                </c:pt>
                <c:pt idx="87">
                  <c:v>194640</c:v>
                </c:pt>
                <c:pt idx="88">
                  <c:v>195495</c:v>
                </c:pt>
                <c:pt idx="89">
                  <c:v>193613</c:v>
                </c:pt>
                <c:pt idx="90">
                  <c:v>192711</c:v>
                </c:pt>
                <c:pt idx="91">
                  <c:v>190531</c:v>
                </c:pt>
                <c:pt idx="92">
                  <c:v>188980</c:v>
                </c:pt>
                <c:pt idx="93">
                  <c:v>189942</c:v>
                </c:pt>
                <c:pt idx="94">
                  <c:v>189403</c:v>
                </c:pt>
                <c:pt idx="95">
                  <c:v>189196</c:v>
                </c:pt>
                <c:pt idx="96">
                  <c:v>215641</c:v>
                </c:pt>
                <c:pt idx="97">
                  <c:v>185923</c:v>
                </c:pt>
                <c:pt idx="98">
                  <c:v>185270</c:v>
                </c:pt>
                <c:pt idx="99">
                  <c:v>185891</c:v>
                </c:pt>
                <c:pt idx="100">
                  <c:v>183806</c:v>
                </c:pt>
                <c:pt idx="101">
                  <c:v>184620</c:v>
                </c:pt>
                <c:pt idx="102">
                  <c:v>184167</c:v>
                </c:pt>
                <c:pt idx="103">
                  <c:v>177856</c:v>
                </c:pt>
                <c:pt idx="104">
                  <c:v>177933</c:v>
                </c:pt>
                <c:pt idx="105">
                  <c:v>159972</c:v>
                </c:pt>
                <c:pt idx="106">
                  <c:v>190386</c:v>
                </c:pt>
                <c:pt idx="107">
                  <c:v>18577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c:v>
                </c:pt>
                <c:pt idx="6">
                  <c:v>0</c:v>
                </c:pt>
                <c:pt idx="7">
                  <c:v>0</c:v>
                </c:pt>
                <c:pt idx="8">
                  <c:v>0.01</c:v>
                </c:pt>
                <c:pt idx="9">
                  <c:v>0.01</c:v>
                </c:pt>
                <c:pt idx="10">
                  <c:v>0.01</c:v>
                </c:pt>
                <c:pt idx="11">
                  <c:v>0.01</c:v>
                </c:pt>
                <c:pt idx="12">
                  <c:v>0.01</c:v>
                </c:pt>
                <c:pt idx="13">
                  <c:v>0.01</c:v>
                </c:pt>
                <c:pt idx="14">
                  <c:v>0.46</c:v>
                </c:pt>
                <c:pt idx="15">
                  <c:v>0.28999999999999998</c:v>
                </c:pt>
                <c:pt idx="16">
                  <c:v>0.11</c:v>
                </c:pt>
                <c:pt idx="17">
                  <c:v>0.08</c:v>
                </c:pt>
                <c:pt idx="18">
                  <c:v>0.06</c:v>
                </c:pt>
                <c:pt idx="19">
                  <c:v>0.04</c:v>
                </c:pt>
                <c:pt idx="20">
                  <c:v>0.03</c:v>
                </c:pt>
                <c:pt idx="21">
                  <c:v>0.02</c:v>
                </c:pt>
                <c:pt idx="22">
                  <c:v>0.02</c:v>
                </c:pt>
                <c:pt idx="23">
                  <c:v>0.01</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2</c:v>
                </c:pt>
                <c:pt idx="46">
                  <c:v>0.02</c:v>
                </c:pt>
                <c:pt idx="47">
                  <c:v>0.01</c:v>
                </c:pt>
                <c:pt idx="48">
                  <c:v>0.02</c:v>
                </c:pt>
                <c:pt idx="49">
                  <c:v>0.01</c:v>
                </c:pt>
                <c:pt idx="50">
                  <c:v>0.01</c:v>
                </c:pt>
                <c:pt idx="51">
                  <c:v>0.01</c:v>
                </c:pt>
                <c:pt idx="52">
                  <c:v>0.01</c:v>
                </c:pt>
                <c:pt idx="53">
                  <c:v>0.02</c:v>
                </c:pt>
                <c:pt idx="54">
                  <c:v>0.01</c:v>
                </c:pt>
                <c:pt idx="55">
                  <c:v>0.01</c:v>
                </c:pt>
                <c:pt idx="56">
                  <c:v>0.01</c:v>
                </c:pt>
                <c:pt idx="57">
                  <c:v>0.02</c:v>
                </c:pt>
                <c:pt idx="58">
                  <c:v>0.01</c:v>
                </c:pt>
                <c:pt idx="59">
                  <c:v>0.02</c:v>
                </c:pt>
                <c:pt idx="60">
                  <c:v>0.01</c:v>
                </c:pt>
                <c:pt idx="61">
                  <c:v>0.01</c:v>
                </c:pt>
                <c:pt idx="62">
                  <c:v>0.02</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2</c:v>
                </c:pt>
                <c:pt idx="102">
                  <c:v>0.3</c:v>
                </c:pt>
                <c:pt idx="103">
                  <c:v>0.23</c:v>
                </c:pt>
                <c:pt idx="104">
                  <c:v>0.28999999999999998</c:v>
                </c:pt>
                <c:pt idx="105">
                  <c:v>0.23</c:v>
                </c:pt>
                <c:pt idx="106">
                  <c:v>0.1</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452</c:v>
                </c:pt>
                <c:pt idx="1">
                  <c:v>21005</c:v>
                </c:pt>
                <c:pt idx="2">
                  <c:v>22600</c:v>
                </c:pt>
                <c:pt idx="3">
                  <c:v>15098</c:v>
                </c:pt>
                <c:pt idx="4">
                  <c:v>10905</c:v>
                </c:pt>
                <c:pt idx="5">
                  <c:v>9902</c:v>
                </c:pt>
                <c:pt idx="6">
                  <c:v>13313</c:v>
                </c:pt>
                <c:pt idx="7">
                  <c:v>29457</c:v>
                </c:pt>
                <c:pt idx="8">
                  <c:v>12281</c:v>
                </c:pt>
                <c:pt idx="9">
                  <c:v>12400</c:v>
                </c:pt>
                <c:pt idx="10">
                  <c:v>26712</c:v>
                </c:pt>
                <c:pt idx="11">
                  <c:v>16837</c:v>
                </c:pt>
                <c:pt idx="12">
                  <c:v>9033</c:v>
                </c:pt>
                <c:pt idx="13">
                  <c:v>9138</c:v>
                </c:pt>
                <c:pt idx="14">
                  <c:v>12862</c:v>
                </c:pt>
                <c:pt idx="15">
                  <c:v>33527</c:v>
                </c:pt>
                <c:pt idx="16">
                  <c:v>13219</c:v>
                </c:pt>
                <c:pt idx="17">
                  <c:v>2003</c:v>
                </c:pt>
                <c:pt idx="18">
                  <c:v>3035</c:v>
                </c:pt>
                <c:pt idx="19">
                  <c:v>2768</c:v>
                </c:pt>
                <c:pt idx="20">
                  <c:v>3396</c:v>
                </c:pt>
                <c:pt idx="21">
                  <c:v>1003</c:v>
                </c:pt>
                <c:pt idx="22">
                  <c:v>782</c:v>
                </c:pt>
                <c:pt idx="23">
                  <c:v>822</c:v>
                </c:pt>
                <c:pt idx="24">
                  <c:v>435</c:v>
                </c:pt>
                <c:pt idx="25">
                  <c:v>671</c:v>
                </c:pt>
                <c:pt idx="26">
                  <c:v>759</c:v>
                </c:pt>
                <c:pt idx="27">
                  <c:v>7212</c:v>
                </c:pt>
                <c:pt idx="28">
                  <c:v>23168</c:v>
                </c:pt>
                <c:pt idx="29">
                  <c:v>10796</c:v>
                </c:pt>
                <c:pt idx="30">
                  <c:v>9974</c:v>
                </c:pt>
                <c:pt idx="31">
                  <c:v>8525</c:v>
                </c:pt>
                <c:pt idx="32">
                  <c:v>8674</c:v>
                </c:pt>
                <c:pt idx="33">
                  <c:v>8566</c:v>
                </c:pt>
                <c:pt idx="34">
                  <c:v>6299</c:v>
                </c:pt>
                <c:pt idx="35">
                  <c:v>2328</c:v>
                </c:pt>
                <c:pt idx="36">
                  <c:v>1491</c:v>
                </c:pt>
                <c:pt idx="37">
                  <c:v>1006</c:v>
                </c:pt>
                <c:pt idx="38">
                  <c:v>3821</c:v>
                </c:pt>
                <c:pt idx="39">
                  <c:v>7302</c:v>
                </c:pt>
                <c:pt idx="40">
                  <c:v>41486</c:v>
                </c:pt>
                <c:pt idx="41">
                  <c:v>48060</c:v>
                </c:pt>
                <c:pt idx="42">
                  <c:v>52758</c:v>
                </c:pt>
                <c:pt idx="43">
                  <c:v>60694</c:v>
                </c:pt>
                <c:pt idx="44">
                  <c:v>63375</c:v>
                </c:pt>
                <c:pt idx="45">
                  <c:v>75506</c:v>
                </c:pt>
                <c:pt idx="46">
                  <c:v>126668</c:v>
                </c:pt>
                <c:pt idx="47">
                  <c:v>124147</c:v>
                </c:pt>
                <c:pt idx="48">
                  <c:v>169430</c:v>
                </c:pt>
                <c:pt idx="49">
                  <c:v>260071</c:v>
                </c:pt>
                <c:pt idx="50">
                  <c:v>515709</c:v>
                </c:pt>
                <c:pt idx="51">
                  <c:v>731707</c:v>
                </c:pt>
                <c:pt idx="52">
                  <c:v>67755</c:v>
                </c:pt>
                <c:pt idx="53">
                  <c:v>15925</c:v>
                </c:pt>
                <c:pt idx="54">
                  <c:v>6050</c:v>
                </c:pt>
                <c:pt idx="55">
                  <c:v>3232</c:v>
                </c:pt>
                <c:pt idx="56">
                  <c:v>1874</c:v>
                </c:pt>
                <c:pt idx="57">
                  <c:v>1706</c:v>
                </c:pt>
                <c:pt idx="58">
                  <c:v>11461</c:v>
                </c:pt>
                <c:pt idx="59">
                  <c:v>31638</c:v>
                </c:pt>
                <c:pt idx="60">
                  <c:v>20067</c:v>
                </c:pt>
                <c:pt idx="61">
                  <c:v>17803</c:v>
                </c:pt>
                <c:pt idx="62">
                  <c:v>20460</c:v>
                </c:pt>
                <c:pt idx="63">
                  <c:v>34287</c:v>
                </c:pt>
                <c:pt idx="64">
                  <c:v>19494</c:v>
                </c:pt>
                <c:pt idx="65">
                  <c:v>16351</c:v>
                </c:pt>
                <c:pt idx="66">
                  <c:v>19375</c:v>
                </c:pt>
                <c:pt idx="67">
                  <c:v>35571</c:v>
                </c:pt>
                <c:pt idx="68">
                  <c:v>18538</c:v>
                </c:pt>
                <c:pt idx="69">
                  <c:v>17384</c:v>
                </c:pt>
                <c:pt idx="70">
                  <c:v>15968</c:v>
                </c:pt>
                <c:pt idx="71">
                  <c:v>18504</c:v>
                </c:pt>
                <c:pt idx="72">
                  <c:v>19682</c:v>
                </c:pt>
                <c:pt idx="73">
                  <c:v>98</c:v>
                </c:pt>
                <c:pt idx="74">
                  <c:v>769</c:v>
                </c:pt>
                <c:pt idx="75">
                  <c:v>190</c:v>
                </c:pt>
                <c:pt idx="76">
                  <c:v>313</c:v>
                </c:pt>
                <c:pt idx="77">
                  <c:v>131</c:v>
                </c:pt>
                <c:pt idx="78">
                  <c:v>1019</c:v>
                </c:pt>
                <c:pt idx="79">
                  <c:v>8672</c:v>
                </c:pt>
                <c:pt idx="80">
                  <c:v>16596</c:v>
                </c:pt>
                <c:pt idx="81">
                  <c:v>17981</c:v>
                </c:pt>
                <c:pt idx="82">
                  <c:v>17413</c:v>
                </c:pt>
                <c:pt idx="83">
                  <c:v>4099</c:v>
                </c:pt>
                <c:pt idx="84">
                  <c:v>3252</c:v>
                </c:pt>
                <c:pt idx="85">
                  <c:v>712</c:v>
                </c:pt>
                <c:pt idx="86">
                  <c:v>2217</c:v>
                </c:pt>
                <c:pt idx="87">
                  <c:v>712</c:v>
                </c:pt>
                <c:pt idx="88">
                  <c:v>765</c:v>
                </c:pt>
                <c:pt idx="89">
                  <c:v>756</c:v>
                </c:pt>
                <c:pt idx="90">
                  <c:v>3492</c:v>
                </c:pt>
                <c:pt idx="91">
                  <c:v>8404</c:v>
                </c:pt>
                <c:pt idx="92">
                  <c:v>19913</c:v>
                </c:pt>
                <c:pt idx="93">
                  <c:v>38222</c:v>
                </c:pt>
                <c:pt idx="94">
                  <c:v>37545</c:v>
                </c:pt>
                <c:pt idx="95">
                  <c:v>34961</c:v>
                </c:pt>
                <c:pt idx="96">
                  <c:v>44319</c:v>
                </c:pt>
                <c:pt idx="97">
                  <c:v>53538</c:v>
                </c:pt>
                <c:pt idx="98">
                  <c:v>66493</c:v>
                </c:pt>
                <c:pt idx="99">
                  <c:v>107195</c:v>
                </c:pt>
                <c:pt idx="100">
                  <c:v>117801</c:v>
                </c:pt>
                <c:pt idx="101">
                  <c:v>162782</c:v>
                </c:pt>
                <c:pt idx="102">
                  <c:v>255107</c:v>
                </c:pt>
                <c:pt idx="103">
                  <c:v>457574</c:v>
                </c:pt>
                <c:pt idx="104">
                  <c:v>8791</c:v>
                </c:pt>
                <c:pt idx="105">
                  <c:v>2066</c:v>
                </c:pt>
                <c:pt idx="106">
                  <c:v>1129</c:v>
                </c:pt>
                <c:pt idx="107">
                  <c:v>80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6408</c:v>
                </c:pt>
                <c:pt idx="1">
                  <c:v>67865</c:v>
                </c:pt>
                <c:pt idx="2">
                  <c:v>67393</c:v>
                </c:pt>
                <c:pt idx="3">
                  <c:v>67451</c:v>
                </c:pt>
                <c:pt idx="4">
                  <c:v>69267</c:v>
                </c:pt>
                <c:pt idx="5">
                  <c:v>74626</c:v>
                </c:pt>
                <c:pt idx="6">
                  <c:v>68126</c:v>
                </c:pt>
                <c:pt idx="7">
                  <c:v>70310</c:v>
                </c:pt>
                <c:pt idx="8">
                  <c:v>80423</c:v>
                </c:pt>
                <c:pt idx="9">
                  <c:v>71738</c:v>
                </c:pt>
                <c:pt idx="10">
                  <c:v>74299</c:v>
                </c:pt>
                <c:pt idx="11">
                  <c:v>74837</c:v>
                </c:pt>
                <c:pt idx="12">
                  <c:v>77387</c:v>
                </c:pt>
                <c:pt idx="13">
                  <c:v>86179</c:v>
                </c:pt>
                <c:pt idx="14">
                  <c:v>72955</c:v>
                </c:pt>
                <c:pt idx="15">
                  <c:v>73785</c:v>
                </c:pt>
                <c:pt idx="16">
                  <c:v>76399</c:v>
                </c:pt>
                <c:pt idx="17">
                  <c:v>88592</c:v>
                </c:pt>
                <c:pt idx="18">
                  <c:v>82075</c:v>
                </c:pt>
                <c:pt idx="19">
                  <c:v>81758</c:v>
                </c:pt>
                <c:pt idx="20">
                  <c:v>92026</c:v>
                </c:pt>
                <c:pt idx="21">
                  <c:v>87455</c:v>
                </c:pt>
                <c:pt idx="22">
                  <c:v>85973</c:v>
                </c:pt>
                <c:pt idx="23">
                  <c:v>85534</c:v>
                </c:pt>
                <c:pt idx="24">
                  <c:v>87605</c:v>
                </c:pt>
                <c:pt idx="25">
                  <c:v>84982</c:v>
                </c:pt>
                <c:pt idx="26">
                  <c:v>89332</c:v>
                </c:pt>
                <c:pt idx="27">
                  <c:v>80422</c:v>
                </c:pt>
                <c:pt idx="28">
                  <c:v>78242</c:v>
                </c:pt>
                <c:pt idx="29">
                  <c:v>83438</c:v>
                </c:pt>
                <c:pt idx="30">
                  <c:v>85315</c:v>
                </c:pt>
                <c:pt idx="31">
                  <c:v>79564</c:v>
                </c:pt>
                <c:pt idx="32">
                  <c:v>83024</c:v>
                </c:pt>
                <c:pt idx="33">
                  <c:v>83996</c:v>
                </c:pt>
                <c:pt idx="34">
                  <c:v>95633</c:v>
                </c:pt>
                <c:pt idx="35">
                  <c:v>98772</c:v>
                </c:pt>
                <c:pt idx="36">
                  <c:v>87224</c:v>
                </c:pt>
                <c:pt idx="37">
                  <c:v>83940</c:v>
                </c:pt>
                <c:pt idx="38">
                  <c:v>77500</c:v>
                </c:pt>
                <c:pt idx="39">
                  <c:v>77036</c:v>
                </c:pt>
                <c:pt idx="40">
                  <c:v>68899</c:v>
                </c:pt>
                <c:pt idx="41">
                  <c:v>73325</c:v>
                </c:pt>
                <c:pt idx="42">
                  <c:v>70397</c:v>
                </c:pt>
                <c:pt idx="43">
                  <c:v>69127</c:v>
                </c:pt>
                <c:pt idx="44">
                  <c:v>77759</c:v>
                </c:pt>
                <c:pt idx="45">
                  <c:v>72492</c:v>
                </c:pt>
                <c:pt idx="46">
                  <c:v>68645</c:v>
                </c:pt>
                <c:pt idx="47">
                  <c:v>72768</c:v>
                </c:pt>
                <c:pt idx="48">
                  <c:v>73913</c:v>
                </c:pt>
                <c:pt idx="49">
                  <c:v>54443</c:v>
                </c:pt>
                <c:pt idx="50">
                  <c:v>53301</c:v>
                </c:pt>
                <c:pt idx="51">
                  <c:v>37537</c:v>
                </c:pt>
                <c:pt idx="52">
                  <c:v>35710</c:v>
                </c:pt>
                <c:pt idx="53">
                  <c:v>38126</c:v>
                </c:pt>
                <c:pt idx="54">
                  <c:v>64526</c:v>
                </c:pt>
                <c:pt idx="55">
                  <c:v>75213</c:v>
                </c:pt>
                <c:pt idx="56">
                  <c:v>79866</c:v>
                </c:pt>
                <c:pt idx="57">
                  <c:v>88059</c:v>
                </c:pt>
                <c:pt idx="58">
                  <c:v>76929</c:v>
                </c:pt>
                <c:pt idx="59">
                  <c:v>80350</c:v>
                </c:pt>
                <c:pt idx="60">
                  <c:v>80667</c:v>
                </c:pt>
                <c:pt idx="61">
                  <c:v>76931</c:v>
                </c:pt>
                <c:pt idx="62">
                  <c:v>69718</c:v>
                </c:pt>
                <c:pt idx="63">
                  <c:v>70663</c:v>
                </c:pt>
                <c:pt idx="64">
                  <c:v>74092</c:v>
                </c:pt>
                <c:pt idx="65">
                  <c:v>75245</c:v>
                </c:pt>
                <c:pt idx="66">
                  <c:v>66806</c:v>
                </c:pt>
                <c:pt idx="67">
                  <c:v>69368</c:v>
                </c:pt>
                <c:pt idx="68">
                  <c:v>67389</c:v>
                </c:pt>
                <c:pt idx="69">
                  <c:v>71693</c:v>
                </c:pt>
                <c:pt idx="70">
                  <c:v>68955</c:v>
                </c:pt>
                <c:pt idx="71">
                  <c:v>67054</c:v>
                </c:pt>
                <c:pt idx="72">
                  <c:v>81620</c:v>
                </c:pt>
                <c:pt idx="73">
                  <c:v>88257</c:v>
                </c:pt>
                <c:pt idx="74">
                  <c:v>95224</c:v>
                </c:pt>
                <c:pt idx="75">
                  <c:v>91741</c:v>
                </c:pt>
                <c:pt idx="76">
                  <c:v>94488</c:v>
                </c:pt>
                <c:pt idx="77">
                  <c:v>93512</c:v>
                </c:pt>
                <c:pt idx="78">
                  <c:v>98903</c:v>
                </c:pt>
                <c:pt idx="79">
                  <c:v>84562</c:v>
                </c:pt>
                <c:pt idx="80">
                  <c:v>80604</c:v>
                </c:pt>
                <c:pt idx="81">
                  <c:v>75258</c:v>
                </c:pt>
                <c:pt idx="82">
                  <c:v>75132</c:v>
                </c:pt>
                <c:pt idx="83">
                  <c:v>85783</c:v>
                </c:pt>
                <c:pt idx="84">
                  <c:v>86220</c:v>
                </c:pt>
                <c:pt idx="85">
                  <c:v>86762</c:v>
                </c:pt>
                <c:pt idx="86">
                  <c:v>83347</c:v>
                </c:pt>
                <c:pt idx="87">
                  <c:v>84818</c:v>
                </c:pt>
                <c:pt idx="88">
                  <c:v>79117</c:v>
                </c:pt>
                <c:pt idx="89">
                  <c:v>81043</c:v>
                </c:pt>
                <c:pt idx="90">
                  <c:v>71722</c:v>
                </c:pt>
                <c:pt idx="91">
                  <c:v>76042</c:v>
                </c:pt>
                <c:pt idx="92">
                  <c:v>66006</c:v>
                </c:pt>
                <c:pt idx="93">
                  <c:v>63165</c:v>
                </c:pt>
                <c:pt idx="94">
                  <c:v>67202</c:v>
                </c:pt>
                <c:pt idx="95">
                  <c:v>73555</c:v>
                </c:pt>
                <c:pt idx="96">
                  <c:v>76113</c:v>
                </c:pt>
                <c:pt idx="97">
                  <c:v>71069</c:v>
                </c:pt>
                <c:pt idx="98">
                  <c:v>69944</c:v>
                </c:pt>
                <c:pt idx="99">
                  <c:v>68462</c:v>
                </c:pt>
                <c:pt idx="100">
                  <c:v>75628</c:v>
                </c:pt>
                <c:pt idx="101">
                  <c:v>72803</c:v>
                </c:pt>
                <c:pt idx="102">
                  <c:v>80857</c:v>
                </c:pt>
                <c:pt idx="103">
                  <c:v>88548</c:v>
                </c:pt>
                <c:pt idx="104">
                  <c:v>67225</c:v>
                </c:pt>
                <c:pt idx="105">
                  <c:v>63850</c:v>
                </c:pt>
                <c:pt idx="106">
                  <c:v>72422</c:v>
                </c:pt>
                <c:pt idx="107">
                  <c:v>6845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860</c:v>
                </c:pt>
                <c:pt idx="1">
                  <c:v>88870</c:v>
                </c:pt>
                <c:pt idx="2">
                  <c:v>89993</c:v>
                </c:pt>
                <c:pt idx="3">
                  <c:v>82549</c:v>
                </c:pt>
                <c:pt idx="4">
                  <c:v>80172</c:v>
                </c:pt>
                <c:pt idx="5">
                  <c:v>84528</c:v>
                </c:pt>
                <c:pt idx="6">
                  <c:v>81439</c:v>
                </c:pt>
                <c:pt idx="7">
                  <c:v>99767</c:v>
                </c:pt>
                <c:pt idx="8">
                  <c:v>92704</c:v>
                </c:pt>
                <c:pt idx="9">
                  <c:v>84138</c:v>
                </c:pt>
                <c:pt idx="10">
                  <c:v>101011</c:v>
                </c:pt>
                <c:pt idx="11">
                  <c:v>91674</c:v>
                </c:pt>
                <c:pt idx="12">
                  <c:v>86420</c:v>
                </c:pt>
                <c:pt idx="13">
                  <c:v>95317</c:v>
                </c:pt>
                <c:pt idx="14">
                  <c:v>85817</c:v>
                </c:pt>
                <c:pt idx="15">
                  <c:v>107312</c:v>
                </c:pt>
                <c:pt idx="16">
                  <c:v>89618</c:v>
                </c:pt>
                <c:pt idx="17">
                  <c:v>90595</c:v>
                </c:pt>
                <c:pt idx="18">
                  <c:v>85110</c:v>
                </c:pt>
                <c:pt idx="19">
                  <c:v>84526</c:v>
                </c:pt>
                <c:pt idx="20">
                  <c:v>95422</c:v>
                </c:pt>
                <c:pt idx="21">
                  <c:v>88458</c:v>
                </c:pt>
                <c:pt idx="22">
                  <c:v>86755</c:v>
                </c:pt>
                <c:pt idx="23">
                  <c:v>86356</c:v>
                </c:pt>
                <c:pt idx="24">
                  <c:v>88040</c:v>
                </c:pt>
                <c:pt idx="25">
                  <c:v>85653</c:v>
                </c:pt>
                <c:pt idx="26">
                  <c:v>90091</c:v>
                </c:pt>
                <c:pt idx="27">
                  <c:v>87634</c:v>
                </c:pt>
                <c:pt idx="28">
                  <c:v>101410</c:v>
                </c:pt>
                <c:pt idx="29">
                  <c:v>94234</c:v>
                </c:pt>
                <c:pt idx="30">
                  <c:v>95289</c:v>
                </c:pt>
                <c:pt idx="31">
                  <c:v>88089</c:v>
                </c:pt>
                <c:pt idx="32">
                  <c:v>91698</c:v>
                </c:pt>
                <c:pt idx="33">
                  <c:v>92562</c:v>
                </c:pt>
                <c:pt idx="34">
                  <c:v>101932</c:v>
                </c:pt>
                <c:pt idx="35">
                  <c:v>101100</c:v>
                </c:pt>
                <c:pt idx="36">
                  <c:v>88715</c:v>
                </c:pt>
                <c:pt idx="37">
                  <c:v>84946</c:v>
                </c:pt>
                <c:pt idx="38">
                  <c:v>81321</c:v>
                </c:pt>
                <c:pt idx="39">
                  <c:v>84338</c:v>
                </c:pt>
                <c:pt idx="40">
                  <c:v>110385</c:v>
                </c:pt>
                <c:pt idx="41">
                  <c:v>121385</c:v>
                </c:pt>
                <c:pt idx="42">
                  <c:v>123155</c:v>
                </c:pt>
                <c:pt idx="43">
                  <c:v>129821</c:v>
                </c:pt>
                <c:pt idx="44">
                  <c:v>141134</c:v>
                </c:pt>
                <c:pt idx="45">
                  <c:v>147998</c:v>
                </c:pt>
                <c:pt idx="46">
                  <c:v>195313</c:v>
                </c:pt>
                <c:pt idx="47">
                  <c:v>196915</c:v>
                </c:pt>
                <c:pt idx="48">
                  <c:v>243343</c:v>
                </c:pt>
                <c:pt idx="49">
                  <c:v>314514</c:v>
                </c:pt>
                <c:pt idx="50">
                  <c:v>569010</c:v>
                </c:pt>
                <c:pt idx="51">
                  <c:v>769244</c:v>
                </c:pt>
                <c:pt idx="52">
                  <c:v>103465</c:v>
                </c:pt>
                <c:pt idx="53">
                  <c:v>54051</c:v>
                </c:pt>
                <c:pt idx="54">
                  <c:v>70576</c:v>
                </c:pt>
                <c:pt idx="55">
                  <c:v>78445</c:v>
                </c:pt>
                <c:pt idx="56">
                  <c:v>81740</c:v>
                </c:pt>
                <c:pt idx="57">
                  <c:v>89765</c:v>
                </c:pt>
                <c:pt idx="58">
                  <c:v>88390</c:v>
                </c:pt>
                <c:pt idx="59">
                  <c:v>111988</c:v>
                </c:pt>
                <c:pt idx="60">
                  <c:v>100734</c:v>
                </c:pt>
                <c:pt idx="61">
                  <c:v>94734</c:v>
                </c:pt>
                <c:pt idx="62">
                  <c:v>90178</c:v>
                </c:pt>
                <c:pt idx="63">
                  <c:v>104950</c:v>
                </c:pt>
                <c:pt idx="64">
                  <c:v>93586</c:v>
                </c:pt>
                <c:pt idx="65">
                  <c:v>91596</c:v>
                </c:pt>
                <c:pt idx="66">
                  <c:v>86181</c:v>
                </c:pt>
                <c:pt idx="67">
                  <c:v>104939</c:v>
                </c:pt>
                <c:pt idx="68">
                  <c:v>85927</c:v>
                </c:pt>
                <c:pt idx="69">
                  <c:v>89077</c:v>
                </c:pt>
                <c:pt idx="70">
                  <c:v>84923</c:v>
                </c:pt>
                <c:pt idx="71">
                  <c:v>85558</c:v>
                </c:pt>
                <c:pt idx="72">
                  <c:v>101302</c:v>
                </c:pt>
                <c:pt idx="73">
                  <c:v>88355</c:v>
                </c:pt>
                <c:pt idx="74">
                  <c:v>95993</c:v>
                </c:pt>
                <c:pt idx="75">
                  <c:v>91931</c:v>
                </c:pt>
                <c:pt idx="76">
                  <c:v>94801</c:v>
                </c:pt>
                <c:pt idx="77">
                  <c:v>93643</c:v>
                </c:pt>
                <c:pt idx="78">
                  <c:v>99922</c:v>
                </c:pt>
                <c:pt idx="79">
                  <c:v>93234</c:v>
                </c:pt>
                <c:pt idx="80">
                  <c:v>97200</c:v>
                </c:pt>
                <c:pt idx="81">
                  <c:v>93239</c:v>
                </c:pt>
                <c:pt idx="82">
                  <c:v>92545</c:v>
                </c:pt>
                <c:pt idx="83">
                  <c:v>89882</c:v>
                </c:pt>
                <c:pt idx="84">
                  <c:v>89472</c:v>
                </c:pt>
                <c:pt idx="85">
                  <c:v>87474</c:v>
                </c:pt>
                <c:pt idx="86">
                  <c:v>85564</c:v>
                </c:pt>
                <c:pt idx="87">
                  <c:v>85530</c:v>
                </c:pt>
                <c:pt idx="88">
                  <c:v>79882</c:v>
                </c:pt>
                <c:pt idx="89">
                  <c:v>81799</c:v>
                </c:pt>
                <c:pt idx="90">
                  <c:v>75214</c:v>
                </c:pt>
                <c:pt idx="91">
                  <c:v>84446</c:v>
                </c:pt>
                <c:pt idx="92">
                  <c:v>85919</c:v>
                </c:pt>
                <c:pt idx="93">
                  <c:v>101387</c:v>
                </c:pt>
                <c:pt idx="94">
                  <c:v>104747</c:v>
                </c:pt>
                <c:pt idx="95">
                  <c:v>108516</c:v>
                </c:pt>
                <c:pt idx="96">
                  <c:v>120432</c:v>
                </c:pt>
                <c:pt idx="97">
                  <c:v>124607</c:v>
                </c:pt>
                <c:pt idx="98">
                  <c:v>136437</c:v>
                </c:pt>
                <c:pt idx="99">
                  <c:v>175657</c:v>
                </c:pt>
                <c:pt idx="100">
                  <c:v>193429</c:v>
                </c:pt>
                <c:pt idx="101">
                  <c:v>235585</c:v>
                </c:pt>
                <c:pt idx="102">
                  <c:v>335964</c:v>
                </c:pt>
                <c:pt idx="103">
                  <c:v>546122</c:v>
                </c:pt>
                <c:pt idx="104">
                  <c:v>76016</c:v>
                </c:pt>
                <c:pt idx="105">
                  <c:v>65916</c:v>
                </c:pt>
                <c:pt idx="106">
                  <c:v>73551</c:v>
                </c:pt>
                <c:pt idx="107">
                  <c:v>692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2916</c:v>
                </c:pt>
                <c:pt idx="1">
                  <c:v>73773</c:v>
                </c:pt>
                <c:pt idx="2">
                  <c:v>74993</c:v>
                </c:pt>
                <c:pt idx="3">
                  <c:v>75940</c:v>
                </c:pt>
                <c:pt idx="4">
                  <c:v>78055</c:v>
                </c:pt>
                <c:pt idx="5">
                  <c:v>80934</c:v>
                </c:pt>
                <c:pt idx="6">
                  <c:v>82790</c:v>
                </c:pt>
                <c:pt idx="7">
                  <c:v>85698</c:v>
                </c:pt>
                <c:pt idx="8">
                  <c:v>87707</c:v>
                </c:pt>
                <c:pt idx="9">
                  <c:v>89152</c:v>
                </c:pt>
                <c:pt idx="10">
                  <c:v>88515</c:v>
                </c:pt>
                <c:pt idx="11">
                  <c:v>89196</c:v>
                </c:pt>
                <c:pt idx="12">
                  <c:v>90359</c:v>
                </c:pt>
                <c:pt idx="13">
                  <c:v>90026</c:v>
                </c:pt>
                <c:pt idx="14">
                  <c:v>92313</c:v>
                </c:pt>
                <c:pt idx="15">
                  <c:v>90811</c:v>
                </c:pt>
                <c:pt idx="16">
                  <c:v>89718</c:v>
                </c:pt>
                <c:pt idx="17">
                  <c:v>90549</c:v>
                </c:pt>
                <c:pt idx="18">
                  <c:v>90211</c:v>
                </c:pt>
                <c:pt idx="19">
                  <c:v>90114</c:v>
                </c:pt>
                <c:pt idx="20">
                  <c:v>88221</c:v>
                </c:pt>
                <c:pt idx="21">
                  <c:v>87922</c:v>
                </c:pt>
                <c:pt idx="22">
                  <c:v>87436</c:v>
                </c:pt>
                <c:pt idx="23">
                  <c:v>88058</c:v>
                </c:pt>
                <c:pt idx="24">
                  <c:v>88429</c:v>
                </c:pt>
                <c:pt idx="25">
                  <c:v>89297</c:v>
                </c:pt>
                <c:pt idx="26">
                  <c:v>89922</c:v>
                </c:pt>
                <c:pt idx="27">
                  <c:v>90324</c:v>
                </c:pt>
                <c:pt idx="28">
                  <c:v>91072</c:v>
                </c:pt>
                <c:pt idx="29">
                  <c:v>91512</c:v>
                </c:pt>
                <c:pt idx="30">
                  <c:v>92143</c:v>
                </c:pt>
                <c:pt idx="31">
                  <c:v>93839</c:v>
                </c:pt>
                <c:pt idx="32">
                  <c:v>95076</c:v>
                </c:pt>
                <c:pt idx="33">
                  <c:v>93565</c:v>
                </c:pt>
                <c:pt idx="34">
                  <c:v>92925</c:v>
                </c:pt>
                <c:pt idx="35">
                  <c:v>91315</c:v>
                </c:pt>
                <c:pt idx="36">
                  <c:v>90812</c:v>
                </c:pt>
                <c:pt idx="37">
                  <c:v>90276</c:v>
                </c:pt>
                <c:pt idx="38">
                  <c:v>88839</c:v>
                </c:pt>
                <c:pt idx="39">
                  <c:v>85848</c:v>
                </c:pt>
                <c:pt idx="40">
                  <c:v>106570</c:v>
                </c:pt>
                <c:pt idx="41">
                  <c:v>122305</c:v>
                </c:pt>
                <c:pt idx="42">
                  <c:v>124218</c:v>
                </c:pt>
                <c:pt idx="43">
                  <c:v>129014</c:v>
                </c:pt>
                <c:pt idx="44">
                  <c:v>132841</c:v>
                </c:pt>
                <c:pt idx="45">
                  <c:v>134922</c:v>
                </c:pt>
                <c:pt idx="46">
                  <c:v>144120</c:v>
                </c:pt>
                <c:pt idx="47">
                  <c:v>145094</c:v>
                </c:pt>
                <c:pt idx="48">
                  <c:v>145976</c:v>
                </c:pt>
                <c:pt idx="49">
                  <c:v>141392</c:v>
                </c:pt>
                <c:pt idx="50">
                  <c:v>138648</c:v>
                </c:pt>
                <c:pt idx="51">
                  <c:v>153382</c:v>
                </c:pt>
                <c:pt idx="52">
                  <c:v>123602</c:v>
                </c:pt>
                <c:pt idx="53">
                  <c:v>88678</c:v>
                </c:pt>
                <c:pt idx="54">
                  <c:v>69887</c:v>
                </c:pt>
                <c:pt idx="55">
                  <c:v>66706</c:v>
                </c:pt>
                <c:pt idx="56">
                  <c:v>73687</c:v>
                </c:pt>
                <c:pt idx="57">
                  <c:v>83808</c:v>
                </c:pt>
                <c:pt idx="58">
                  <c:v>88589</c:v>
                </c:pt>
                <c:pt idx="59">
                  <c:v>91660</c:v>
                </c:pt>
                <c:pt idx="60">
                  <c:v>94014</c:v>
                </c:pt>
                <c:pt idx="61">
                  <c:v>95897</c:v>
                </c:pt>
                <c:pt idx="62">
                  <c:v>95765</c:v>
                </c:pt>
                <c:pt idx="63">
                  <c:v>95859</c:v>
                </c:pt>
                <c:pt idx="64">
                  <c:v>94609</c:v>
                </c:pt>
                <c:pt idx="65">
                  <c:v>93093</c:v>
                </c:pt>
                <c:pt idx="66">
                  <c:v>92435</c:v>
                </c:pt>
                <c:pt idx="67">
                  <c:v>92082</c:v>
                </c:pt>
                <c:pt idx="68">
                  <c:v>89763</c:v>
                </c:pt>
                <c:pt idx="69">
                  <c:v>90270</c:v>
                </c:pt>
                <c:pt idx="70">
                  <c:v>90301</c:v>
                </c:pt>
                <c:pt idx="71">
                  <c:v>91184</c:v>
                </c:pt>
                <c:pt idx="72">
                  <c:v>90882</c:v>
                </c:pt>
                <c:pt idx="73">
                  <c:v>91456</c:v>
                </c:pt>
                <c:pt idx="74">
                  <c:v>91987</c:v>
                </c:pt>
                <c:pt idx="75">
                  <c:v>93885</c:v>
                </c:pt>
                <c:pt idx="76">
                  <c:v>94736</c:v>
                </c:pt>
                <c:pt idx="77">
                  <c:v>94266</c:v>
                </c:pt>
                <c:pt idx="78">
                  <c:v>94862</c:v>
                </c:pt>
                <c:pt idx="79">
                  <c:v>94513</c:v>
                </c:pt>
                <c:pt idx="80">
                  <c:v>94194</c:v>
                </c:pt>
                <c:pt idx="81">
                  <c:v>93049</c:v>
                </c:pt>
                <c:pt idx="82">
                  <c:v>92693</c:v>
                </c:pt>
                <c:pt idx="83">
                  <c:v>90902</c:v>
                </c:pt>
                <c:pt idx="84">
                  <c:v>90034</c:v>
                </c:pt>
                <c:pt idx="85">
                  <c:v>87988</c:v>
                </c:pt>
                <c:pt idx="86">
                  <c:v>86513</c:v>
                </c:pt>
                <c:pt idx="87">
                  <c:v>84411</c:v>
                </c:pt>
                <c:pt idx="88">
                  <c:v>83823</c:v>
                </c:pt>
                <c:pt idx="89">
                  <c:v>82499</c:v>
                </c:pt>
                <c:pt idx="90">
                  <c:v>81417</c:v>
                </c:pt>
                <c:pt idx="91">
                  <c:v>80312</c:v>
                </c:pt>
                <c:pt idx="92">
                  <c:v>84233</c:v>
                </c:pt>
                <c:pt idx="93">
                  <c:v>100303</c:v>
                </c:pt>
                <c:pt idx="94">
                  <c:v>105735</c:v>
                </c:pt>
                <c:pt idx="95">
                  <c:v>111155</c:v>
                </c:pt>
                <c:pt idx="96">
                  <c:v>118652</c:v>
                </c:pt>
                <c:pt idx="97">
                  <c:v>126601</c:v>
                </c:pt>
                <c:pt idx="98">
                  <c:v>136682</c:v>
                </c:pt>
                <c:pt idx="99">
                  <c:v>137767</c:v>
                </c:pt>
                <c:pt idx="100">
                  <c:v>139086</c:v>
                </c:pt>
                <c:pt idx="101">
                  <c:v>138252</c:v>
                </c:pt>
                <c:pt idx="102">
                  <c:v>137779</c:v>
                </c:pt>
                <c:pt idx="103">
                  <c:v>138303</c:v>
                </c:pt>
                <c:pt idx="104">
                  <c:v>93067</c:v>
                </c:pt>
                <c:pt idx="105">
                  <c:v>76560</c:v>
                </c:pt>
                <c:pt idx="106">
                  <c:v>75334</c:v>
                </c:pt>
                <c:pt idx="107">
                  <c:v>7383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4</c:v>
                </c:pt>
                <c:pt idx="4">
                  <c:v>0.25</c:v>
                </c:pt>
                <c:pt idx="5">
                  <c:v>0.2</c:v>
                </c:pt>
                <c:pt idx="6">
                  <c:v>0.21</c:v>
                </c:pt>
                <c:pt idx="7">
                  <c:v>0.36</c:v>
                </c:pt>
                <c:pt idx="8">
                  <c:v>0.16</c:v>
                </c:pt>
                <c:pt idx="9">
                  <c:v>0.18</c:v>
                </c:pt>
                <c:pt idx="10">
                  <c:v>0.31</c:v>
                </c:pt>
                <c:pt idx="11">
                  <c:v>0.21</c:v>
                </c:pt>
                <c:pt idx="12">
                  <c:v>0.13</c:v>
                </c:pt>
                <c:pt idx="13">
                  <c:v>0.11</c:v>
                </c:pt>
                <c:pt idx="14">
                  <c:v>0.18</c:v>
                </c:pt>
                <c:pt idx="15">
                  <c:v>0.36</c:v>
                </c:pt>
                <c:pt idx="16">
                  <c:v>0.18</c:v>
                </c:pt>
                <c:pt idx="17">
                  <c:v>0.04</c:v>
                </c:pt>
                <c:pt idx="18">
                  <c:v>0.06</c:v>
                </c:pt>
                <c:pt idx="19">
                  <c:v>0.05</c:v>
                </c:pt>
                <c:pt idx="20">
                  <c:v>0.09</c:v>
                </c:pt>
                <c:pt idx="21">
                  <c:v>0.02</c:v>
                </c:pt>
                <c:pt idx="22">
                  <c:v>0.01</c:v>
                </c:pt>
                <c:pt idx="23">
                  <c:v>0.02</c:v>
                </c:pt>
                <c:pt idx="24">
                  <c:v>0.01</c:v>
                </c:pt>
                <c:pt idx="25">
                  <c:v>0.01</c:v>
                </c:pt>
                <c:pt idx="26">
                  <c:v>0.01</c:v>
                </c:pt>
                <c:pt idx="27">
                  <c:v>0.09</c:v>
                </c:pt>
                <c:pt idx="28">
                  <c:v>0.26</c:v>
                </c:pt>
                <c:pt idx="29">
                  <c:v>0.15</c:v>
                </c:pt>
                <c:pt idx="30">
                  <c:v>0.12</c:v>
                </c:pt>
                <c:pt idx="31">
                  <c:v>0.11</c:v>
                </c:pt>
                <c:pt idx="32">
                  <c:v>0.11</c:v>
                </c:pt>
                <c:pt idx="33">
                  <c:v>0.1</c:v>
                </c:pt>
                <c:pt idx="34">
                  <c:v>0.08</c:v>
                </c:pt>
                <c:pt idx="35">
                  <c:v>0.02</c:v>
                </c:pt>
                <c:pt idx="36">
                  <c:v>0.02</c:v>
                </c:pt>
                <c:pt idx="37">
                  <c:v>0.01</c:v>
                </c:pt>
                <c:pt idx="38">
                  <c:v>0.05</c:v>
                </c:pt>
                <c:pt idx="39">
                  <c:v>0.09</c:v>
                </c:pt>
                <c:pt idx="40">
                  <c:v>0.43</c:v>
                </c:pt>
                <c:pt idx="41">
                  <c:v>0.46</c:v>
                </c:pt>
                <c:pt idx="42">
                  <c:v>0.49</c:v>
                </c:pt>
                <c:pt idx="43">
                  <c:v>0.53</c:v>
                </c:pt>
                <c:pt idx="44">
                  <c:v>0.51</c:v>
                </c:pt>
                <c:pt idx="45">
                  <c:v>0.56999999999999995</c:v>
                </c:pt>
                <c:pt idx="46">
                  <c:v>0.7</c:v>
                </c:pt>
                <c:pt idx="47">
                  <c:v>0.68</c:v>
                </c:pt>
                <c:pt idx="48">
                  <c:v>0.73</c:v>
                </c:pt>
                <c:pt idx="49">
                  <c:v>0.86</c:v>
                </c:pt>
                <c:pt idx="50">
                  <c:v>0.91</c:v>
                </c:pt>
                <c:pt idx="51">
                  <c:v>0.97</c:v>
                </c:pt>
                <c:pt idx="52">
                  <c:v>0.77</c:v>
                </c:pt>
                <c:pt idx="53">
                  <c:v>0.39</c:v>
                </c:pt>
                <c:pt idx="54">
                  <c:v>0.14000000000000001</c:v>
                </c:pt>
                <c:pt idx="55">
                  <c:v>0.08</c:v>
                </c:pt>
                <c:pt idx="56">
                  <c:v>0.04</c:v>
                </c:pt>
                <c:pt idx="57">
                  <c:v>0.03</c:v>
                </c:pt>
                <c:pt idx="58">
                  <c:v>0.15</c:v>
                </c:pt>
                <c:pt idx="59">
                  <c:v>0.34</c:v>
                </c:pt>
                <c:pt idx="60">
                  <c:v>0.23</c:v>
                </c:pt>
                <c:pt idx="61">
                  <c:v>0.22</c:v>
                </c:pt>
                <c:pt idx="62">
                  <c:v>0.24</c:v>
                </c:pt>
                <c:pt idx="63">
                  <c:v>0.39</c:v>
                </c:pt>
                <c:pt idx="64">
                  <c:v>0.22</c:v>
                </c:pt>
                <c:pt idx="65">
                  <c:v>0.22</c:v>
                </c:pt>
                <c:pt idx="66">
                  <c:v>0.25</c:v>
                </c:pt>
                <c:pt idx="67">
                  <c:v>0.37</c:v>
                </c:pt>
                <c:pt idx="68">
                  <c:v>0.24</c:v>
                </c:pt>
                <c:pt idx="69">
                  <c:v>0.21</c:v>
                </c:pt>
                <c:pt idx="70">
                  <c:v>0.21</c:v>
                </c:pt>
                <c:pt idx="71">
                  <c:v>0.24</c:v>
                </c:pt>
                <c:pt idx="72">
                  <c:v>0.23</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2</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246</c:v>
                </c:pt>
                <c:pt idx="1">
                  <c:v>20921</c:v>
                </c:pt>
                <c:pt idx="2">
                  <c:v>22475</c:v>
                </c:pt>
                <c:pt idx="3">
                  <c:v>14977</c:v>
                </c:pt>
                <c:pt idx="4">
                  <c:v>10854</c:v>
                </c:pt>
                <c:pt idx="5">
                  <c:v>9352</c:v>
                </c:pt>
                <c:pt idx="6">
                  <c:v>12959</c:v>
                </c:pt>
                <c:pt idx="7">
                  <c:v>29121</c:v>
                </c:pt>
                <c:pt idx="8">
                  <c:v>12087</c:v>
                </c:pt>
                <c:pt idx="9">
                  <c:v>12068</c:v>
                </c:pt>
                <c:pt idx="10">
                  <c:v>26350</c:v>
                </c:pt>
                <c:pt idx="11">
                  <c:v>16367</c:v>
                </c:pt>
                <c:pt idx="12">
                  <c:v>8284</c:v>
                </c:pt>
                <c:pt idx="13">
                  <c:v>8474</c:v>
                </c:pt>
                <c:pt idx="14">
                  <c:v>12648</c:v>
                </c:pt>
                <c:pt idx="15">
                  <c:v>32925</c:v>
                </c:pt>
                <c:pt idx="16">
                  <c:v>12607</c:v>
                </c:pt>
                <c:pt idx="17">
                  <c:v>1590</c:v>
                </c:pt>
                <c:pt idx="18">
                  <c:v>2661</c:v>
                </c:pt>
                <c:pt idx="19">
                  <c:v>2380</c:v>
                </c:pt>
                <c:pt idx="20">
                  <c:v>2951</c:v>
                </c:pt>
                <c:pt idx="21">
                  <c:v>792</c:v>
                </c:pt>
                <c:pt idx="22">
                  <c:v>255</c:v>
                </c:pt>
                <c:pt idx="23">
                  <c:v>462</c:v>
                </c:pt>
                <c:pt idx="24">
                  <c:v>149</c:v>
                </c:pt>
                <c:pt idx="25">
                  <c:v>443</c:v>
                </c:pt>
                <c:pt idx="26">
                  <c:v>432</c:v>
                </c:pt>
                <c:pt idx="27">
                  <c:v>6852</c:v>
                </c:pt>
                <c:pt idx="28">
                  <c:v>22746</c:v>
                </c:pt>
                <c:pt idx="29">
                  <c:v>10300</c:v>
                </c:pt>
                <c:pt idx="30">
                  <c:v>9507</c:v>
                </c:pt>
                <c:pt idx="31">
                  <c:v>8324</c:v>
                </c:pt>
                <c:pt idx="32">
                  <c:v>8289</c:v>
                </c:pt>
                <c:pt idx="33">
                  <c:v>8188</c:v>
                </c:pt>
                <c:pt idx="34">
                  <c:v>6002</c:v>
                </c:pt>
                <c:pt idx="35">
                  <c:v>1820</c:v>
                </c:pt>
                <c:pt idx="36">
                  <c:v>1023</c:v>
                </c:pt>
                <c:pt idx="37">
                  <c:v>529</c:v>
                </c:pt>
                <c:pt idx="38">
                  <c:v>3439</c:v>
                </c:pt>
                <c:pt idx="39">
                  <c:v>6735</c:v>
                </c:pt>
                <c:pt idx="40">
                  <c:v>35646</c:v>
                </c:pt>
                <c:pt idx="41">
                  <c:v>37932</c:v>
                </c:pt>
                <c:pt idx="42">
                  <c:v>41191</c:v>
                </c:pt>
                <c:pt idx="43">
                  <c:v>47917</c:v>
                </c:pt>
                <c:pt idx="44">
                  <c:v>47131</c:v>
                </c:pt>
                <c:pt idx="45">
                  <c:v>55689</c:v>
                </c:pt>
                <c:pt idx="46">
                  <c:v>89084</c:v>
                </c:pt>
                <c:pt idx="47">
                  <c:v>88415</c:v>
                </c:pt>
                <c:pt idx="48">
                  <c:v>113951</c:v>
                </c:pt>
                <c:pt idx="49">
                  <c:v>170333</c:v>
                </c:pt>
                <c:pt idx="50">
                  <c:v>295401</c:v>
                </c:pt>
                <c:pt idx="51">
                  <c:v>291838</c:v>
                </c:pt>
                <c:pt idx="52">
                  <c:v>7698</c:v>
                </c:pt>
                <c:pt idx="53">
                  <c:v>11244</c:v>
                </c:pt>
                <c:pt idx="54">
                  <c:v>4511</c:v>
                </c:pt>
                <c:pt idx="55">
                  <c:v>2334</c:v>
                </c:pt>
                <c:pt idx="56">
                  <c:v>1456</c:v>
                </c:pt>
                <c:pt idx="57">
                  <c:v>1254</c:v>
                </c:pt>
                <c:pt idx="58">
                  <c:v>11250</c:v>
                </c:pt>
                <c:pt idx="59">
                  <c:v>31534</c:v>
                </c:pt>
                <c:pt idx="60">
                  <c:v>20009</c:v>
                </c:pt>
                <c:pt idx="61">
                  <c:v>17736</c:v>
                </c:pt>
                <c:pt idx="62">
                  <c:v>20421</c:v>
                </c:pt>
                <c:pt idx="63">
                  <c:v>34044</c:v>
                </c:pt>
                <c:pt idx="64">
                  <c:v>19466</c:v>
                </c:pt>
                <c:pt idx="65">
                  <c:v>16299</c:v>
                </c:pt>
                <c:pt idx="66">
                  <c:v>19337</c:v>
                </c:pt>
                <c:pt idx="67">
                  <c:v>35541</c:v>
                </c:pt>
                <c:pt idx="68">
                  <c:v>18524</c:v>
                </c:pt>
                <c:pt idx="69">
                  <c:v>17376</c:v>
                </c:pt>
                <c:pt idx="70">
                  <c:v>15927</c:v>
                </c:pt>
                <c:pt idx="71">
                  <c:v>18467</c:v>
                </c:pt>
                <c:pt idx="72">
                  <c:v>19674</c:v>
                </c:pt>
                <c:pt idx="73">
                  <c:v>98</c:v>
                </c:pt>
                <c:pt idx="74">
                  <c:v>769</c:v>
                </c:pt>
                <c:pt idx="75">
                  <c:v>178</c:v>
                </c:pt>
                <c:pt idx="76">
                  <c:v>310</c:v>
                </c:pt>
                <c:pt idx="77">
                  <c:v>127</c:v>
                </c:pt>
                <c:pt idx="78">
                  <c:v>1015</c:v>
                </c:pt>
                <c:pt idx="79">
                  <c:v>8668</c:v>
                </c:pt>
                <c:pt idx="80">
                  <c:v>16592</c:v>
                </c:pt>
                <c:pt idx="81">
                  <c:v>17973</c:v>
                </c:pt>
                <c:pt idx="82">
                  <c:v>17405</c:v>
                </c:pt>
                <c:pt idx="83">
                  <c:v>4099</c:v>
                </c:pt>
                <c:pt idx="84">
                  <c:v>3252</c:v>
                </c:pt>
                <c:pt idx="85">
                  <c:v>712</c:v>
                </c:pt>
                <c:pt idx="86">
                  <c:v>2217</c:v>
                </c:pt>
                <c:pt idx="87">
                  <c:v>704</c:v>
                </c:pt>
                <c:pt idx="88">
                  <c:v>742</c:v>
                </c:pt>
                <c:pt idx="89">
                  <c:v>748</c:v>
                </c:pt>
                <c:pt idx="90">
                  <c:v>3492</c:v>
                </c:pt>
                <c:pt idx="91">
                  <c:v>8386</c:v>
                </c:pt>
                <c:pt idx="92">
                  <c:v>19901</c:v>
                </c:pt>
                <c:pt idx="93">
                  <c:v>38222</c:v>
                </c:pt>
                <c:pt idx="94">
                  <c:v>37535</c:v>
                </c:pt>
                <c:pt idx="95">
                  <c:v>34961</c:v>
                </c:pt>
                <c:pt idx="96">
                  <c:v>44305</c:v>
                </c:pt>
                <c:pt idx="97">
                  <c:v>53531</c:v>
                </c:pt>
                <c:pt idx="98">
                  <c:v>66493</c:v>
                </c:pt>
                <c:pt idx="99">
                  <c:v>107195</c:v>
                </c:pt>
                <c:pt idx="100">
                  <c:v>117801</c:v>
                </c:pt>
                <c:pt idx="101">
                  <c:v>162782</c:v>
                </c:pt>
                <c:pt idx="102">
                  <c:v>255092</c:v>
                </c:pt>
                <c:pt idx="103">
                  <c:v>457574</c:v>
                </c:pt>
                <c:pt idx="104">
                  <c:v>8754</c:v>
                </c:pt>
                <c:pt idx="105">
                  <c:v>2036</c:v>
                </c:pt>
                <c:pt idx="106">
                  <c:v>1084</c:v>
                </c:pt>
                <c:pt idx="107">
                  <c:v>72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5934</c:v>
                </c:pt>
                <c:pt idx="1">
                  <c:v>66396</c:v>
                </c:pt>
                <c:pt idx="2">
                  <c:v>63096</c:v>
                </c:pt>
                <c:pt idx="3">
                  <c:v>59268</c:v>
                </c:pt>
                <c:pt idx="4">
                  <c:v>59971</c:v>
                </c:pt>
                <c:pt idx="5">
                  <c:v>65177</c:v>
                </c:pt>
                <c:pt idx="6">
                  <c:v>59897</c:v>
                </c:pt>
                <c:pt idx="7">
                  <c:v>60871</c:v>
                </c:pt>
                <c:pt idx="8">
                  <c:v>69217</c:v>
                </c:pt>
                <c:pt idx="9">
                  <c:v>62708</c:v>
                </c:pt>
                <c:pt idx="10">
                  <c:v>65546</c:v>
                </c:pt>
                <c:pt idx="11">
                  <c:v>66112</c:v>
                </c:pt>
                <c:pt idx="12">
                  <c:v>67837</c:v>
                </c:pt>
                <c:pt idx="13">
                  <c:v>74892</c:v>
                </c:pt>
                <c:pt idx="14">
                  <c:v>61387</c:v>
                </c:pt>
                <c:pt idx="15">
                  <c:v>62739</c:v>
                </c:pt>
                <c:pt idx="16">
                  <c:v>66217</c:v>
                </c:pt>
                <c:pt idx="17">
                  <c:v>77171</c:v>
                </c:pt>
                <c:pt idx="18">
                  <c:v>71576</c:v>
                </c:pt>
                <c:pt idx="19">
                  <c:v>70921</c:v>
                </c:pt>
                <c:pt idx="20">
                  <c:v>81305</c:v>
                </c:pt>
                <c:pt idx="21">
                  <c:v>77279</c:v>
                </c:pt>
                <c:pt idx="22">
                  <c:v>75611</c:v>
                </c:pt>
                <c:pt idx="23">
                  <c:v>74544</c:v>
                </c:pt>
                <c:pt idx="24">
                  <c:v>75962</c:v>
                </c:pt>
                <c:pt idx="25">
                  <c:v>74655</c:v>
                </c:pt>
                <c:pt idx="26">
                  <c:v>78231</c:v>
                </c:pt>
                <c:pt idx="27">
                  <c:v>70252</c:v>
                </c:pt>
                <c:pt idx="28">
                  <c:v>67456</c:v>
                </c:pt>
                <c:pt idx="29">
                  <c:v>73610</c:v>
                </c:pt>
                <c:pt idx="30">
                  <c:v>74690</c:v>
                </c:pt>
                <c:pt idx="31">
                  <c:v>69175</c:v>
                </c:pt>
                <c:pt idx="32">
                  <c:v>72344</c:v>
                </c:pt>
                <c:pt idx="33">
                  <c:v>73541</c:v>
                </c:pt>
                <c:pt idx="34">
                  <c:v>85723</c:v>
                </c:pt>
                <c:pt idx="35">
                  <c:v>89953</c:v>
                </c:pt>
                <c:pt idx="36">
                  <c:v>79030</c:v>
                </c:pt>
                <c:pt idx="37">
                  <c:v>75170</c:v>
                </c:pt>
                <c:pt idx="38">
                  <c:v>68915</c:v>
                </c:pt>
                <c:pt idx="39">
                  <c:v>68645</c:v>
                </c:pt>
                <c:pt idx="40">
                  <c:v>60594</c:v>
                </c:pt>
                <c:pt idx="41">
                  <c:v>65182</c:v>
                </c:pt>
                <c:pt idx="42">
                  <c:v>62631</c:v>
                </c:pt>
                <c:pt idx="43">
                  <c:v>61641</c:v>
                </c:pt>
                <c:pt idx="44">
                  <c:v>70092</c:v>
                </c:pt>
                <c:pt idx="45">
                  <c:v>65121</c:v>
                </c:pt>
                <c:pt idx="46">
                  <c:v>62359</c:v>
                </c:pt>
                <c:pt idx="47">
                  <c:v>66067</c:v>
                </c:pt>
                <c:pt idx="48">
                  <c:v>68095</c:v>
                </c:pt>
                <c:pt idx="49">
                  <c:v>50389</c:v>
                </c:pt>
                <c:pt idx="50">
                  <c:v>50106</c:v>
                </c:pt>
                <c:pt idx="51">
                  <c:v>33236</c:v>
                </c:pt>
                <c:pt idx="52">
                  <c:v>33313</c:v>
                </c:pt>
                <c:pt idx="53">
                  <c:v>37637</c:v>
                </c:pt>
                <c:pt idx="54">
                  <c:v>64349</c:v>
                </c:pt>
                <c:pt idx="55">
                  <c:v>75192</c:v>
                </c:pt>
                <c:pt idx="56">
                  <c:v>79829</c:v>
                </c:pt>
                <c:pt idx="57">
                  <c:v>88015</c:v>
                </c:pt>
                <c:pt idx="58">
                  <c:v>76894</c:v>
                </c:pt>
                <c:pt idx="59">
                  <c:v>80264</c:v>
                </c:pt>
                <c:pt idx="60">
                  <c:v>80616</c:v>
                </c:pt>
                <c:pt idx="61">
                  <c:v>76897</c:v>
                </c:pt>
                <c:pt idx="62">
                  <c:v>69657</c:v>
                </c:pt>
                <c:pt idx="63">
                  <c:v>70641</c:v>
                </c:pt>
                <c:pt idx="64">
                  <c:v>74048</c:v>
                </c:pt>
                <c:pt idx="65">
                  <c:v>75240</c:v>
                </c:pt>
                <c:pt idx="66">
                  <c:v>66796</c:v>
                </c:pt>
                <c:pt idx="67">
                  <c:v>69361</c:v>
                </c:pt>
                <c:pt idx="68">
                  <c:v>67389</c:v>
                </c:pt>
                <c:pt idx="69">
                  <c:v>71669</c:v>
                </c:pt>
                <c:pt idx="70">
                  <c:v>68916</c:v>
                </c:pt>
                <c:pt idx="71">
                  <c:v>67038</c:v>
                </c:pt>
                <c:pt idx="72">
                  <c:v>81617</c:v>
                </c:pt>
                <c:pt idx="73">
                  <c:v>88217</c:v>
                </c:pt>
                <c:pt idx="74">
                  <c:v>95212</c:v>
                </c:pt>
                <c:pt idx="75">
                  <c:v>91741</c:v>
                </c:pt>
                <c:pt idx="76">
                  <c:v>94488</c:v>
                </c:pt>
                <c:pt idx="77">
                  <c:v>93512</c:v>
                </c:pt>
                <c:pt idx="78">
                  <c:v>98903</c:v>
                </c:pt>
                <c:pt idx="79">
                  <c:v>84562</c:v>
                </c:pt>
                <c:pt idx="80">
                  <c:v>80600</c:v>
                </c:pt>
                <c:pt idx="81">
                  <c:v>75258</c:v>
                </c:pt>
                <c:pt idx="82">
                  <c:v>75132</c:v>
                </c:pt>
                <c:pt idx="83">
                  <c:v>85783</c:v>
                </c:pt>
                <c:pt idx="84">
                  <c:v>86220</c:v>
                </c:pt>
                <c:pt idx="85">
                  <c:v>86762</c:v>
                </c:pt>
                <c:pt idx="86">
                  <c:v>83347</c:v>
                </c:pt>
                <c:pt idx="87">
                  <c:v>84818</c:v>
                </c:pt>
                <c:pt idx="88">
                  <c:v>79099</c:v>
                </c:pt>
                <c:pt idx="89">
                  <c:v>81043</c:v>
                </c:pt>
                <c:pt idx="90">
                  <c:v>71686</c:v>
                </c:pt>
                <c:pt idx="91">
                  <c:v>76042</c:v>
                </c:pt>
                <c:pt idx="92">
                  <c:v>66002</c:v>
                </c:pt>
                <c:pt idx="93">
                  <c:v>63165</c:v>
                </c:pt>
                <c:pt idx="94">
                  <c:v>67202</c:v>
                </c:pt>
                <c:pt idx="95">
                  <c:v>73555</c:v>
                </c:pt>
                <c:pt idx="96">
                  <c:v>76100</c:v>
                </c:pt>
                <c:pt idx="97">
                  <c:v>71069</c:v>
                </c:pt>
                <c:pt idx="98">
                  <c:v>69944</c:v>
                </c:pt>
                <c:pt idx="99">
                  <c:v>68462</c:v>
                </c:pt>
                <c:pt idx="100">
                  <c:v>75628</c:v>
                </c:pt>
                <c:pt idx="101">
                  <c:v>72803</c:v>
                </c:pt>
                <c:pt idx="102">
                  <c:v>80848</c:v>
                </c:pt>
                <c:pt idx="103">
                  <c:v>88449</c:v>
                </c:pt>
                <c:pt idx="104">
                  <c:v>67012</c:v>
                </c:pt>
                <c:pt idx="105">
                  <c:v>63067</c:v>
                </c:pt>
                <c:pt idx="106">
                  <c:v>68585</c:v>
                </c:pt>
                <c:pt idx="107">
                  <c:v>6211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180</c:v>
                </c:pt>
                <c:pt idx="1">
                  <c:v>87317</c:v>
                </c:pt>
                <c:pt idx="2">
                  <c:v>85571</c:v>
                </c:pt>
                <c:pt idx="3">
                  <c:v>74245</c:v>
                </c:pt>
                <c:pt idx="4">
                  <c:v>70825</c:v>
                </c:pt>
                <c:pt idx="5">
                  <c:v>74529</c:v>
                </c:pt>
                <c:pt idx="6">
                  <c:v>72856</c:v>
                </c:pt>
                <c:pt idx="7">
                  <c:v>89992</c:v>
                </c:pt>
                <c:pt idx="8">
                  <c:v>81304</c:v>
                </c:pt>
                <c:pt idx="9">
                  <c:v>74776</c:v>
                </c:pt>
                <c:pt idx="10">
                  <c:v>91896</c:v>
                </c:pt>
                <c:pt idx="11">
                  <c:v>82479</c:v>
                </c:pt>
                <c:pt idx="12">
                  <c:v>76121</c:v>
                </c:pt>
                <c:pt idx="13">
                  <c:v>83366</c:v>
                </c:pt>
                <c:pt idx="14">
                  <c:v>74035</c:v>
                </c:pt>
                <c:pt idx="15">
                  <c:v>95664</c:v>
                </c:pt>
                <c:pt idx="16">
                  <c:v>78824</c:v>
                </c:pt>
                <c:pt idx="17">
                  <c:v>78761</c:v>
                </c:pt>
                <c:pt idx="18">
                  <c:v>74237</c:v>
                </c:pt>
                <c:pt idx="19">
                  <c:v>73301</c:v>
                </c:pt>
                <c:pt idx="20">
                  <c:v>84256</c:v>
                </c:pt>
                <c:pt idx="21">
                  <c:v>78071</c:v>
                </c:pt>
                <c:pt idx="22">
                  <c:v>75866</c:v>
                </c:pt>
                <c:pt idx="23">
                  <c:v>75006</c:v>
                </c:pt>
                <c:pt idx="24">
                  <c:v>76111</c:v>
                </c:pt>
                <c:pt idx="25">
                  <c:v>75098</c:v>
                </c:pt>
                <c:pt idx="26">
                  <c:v>78663</c:v>
                </c:pt>
                <c:pt idx="27">
                  <c:v>77104</c:v>
                </c:pt>
                <c:pt idx="28">
                  <c:v>90202</c:v>
                </c:pt>
                <c:pt idx="29">
                  <c:v>83910</c:v>
                </c:pt>
                <c:pt idx="30">
                  <c:v>84197</c:v>
                </c:pt>
                <c:pt idx="31">
                  <c:v>77499</c:v>
                </c:pt>
                <c:pt idx="32">
                  <c:v>80633</c:v>
                </c:pt>
                <c:pt idx="33">
                  <c:v>81729</c:v>
                </c:pt>
                <c:pt idx="34">
                  <c:v>91725</c:v>
                </c:pt>
                <c:pt idx="35">
                  <c:v>91773</c:v>
                </c:pt>
                <c:pt idx="36">
                  <c:v>80053</c:v>
                </c:pt>
                <c:pt idx="37">
                  <c:v>75699</c:v>
                </c:pt>
                <c:pt idx="38">
                  <c:v>72354</c:v>
                </c:pt>
                <c:pt idx="39">
                  <c:v>75380</c:v>
                </c:pt>
                <c:pt idx="40">
                  <c:v>96240</c:v>
                </c:pt>
                <c:pt idx="41">
                  <c:v>103114</c:v>
                </c:pt>
                <c:pt idx="42">
                  <c:v>103822</c:v>
                </c:pt>
                <c:pt idx="43">
                  <c:v>109558</c:v>
                </c:pt>
                <c:pt idx="44">
                  <c:v>117223</c:v>
                </c:pt>
                <c:pt idx="45">
                  <c:v>120810</c:v>
                </c:pt>
                <c:pt idx="46">
                  <c:v>151443</c:v>
                </c:pt>
                <c:pt idx="47">
                  <c:v>154482</c:v>
                </c:pt>
                <c:pt idx="48">
                  <c:v>182046</c:v>
                </c:pt>
                <c:pt idx="49">
                  <c:v>220722</c:v>
                </c:pt>
                <c:pt idx="50">
                  <c:v>345507</c:v>
                </c:pt>
                <c:pt idx="51">
                  <c:v>325074</c:v>
                </c:pt>
                <c:pt idx="52">
                  <c:v>41011</c:v>
                </c:pt>
                <c:pt idx="53">
                  <c:v>48881</c:v>
                </c:pt>
                <c:pt idx="54">
                  <c:v>68860</c:v>
                </c:pt>
                <c:pt idx="55">
                  <c:v>77526</c:v>
                </c:pt>
                <c:pt idx="56">
                  <c:v>81285</c:v>
                </c:pt>
                <c:pt idx="57">
                  <c:v>89269</c:v>
                </c:pt>
                <c:pt idx="58">
                  <c:v>88144</c:v>
                </c:pt>
                <c:pt idx="59">
                  <c:v>111798</c:v>
                </c:pt>
                <c:pt idx="60">
                  <c:v>100625</c:v>
                </c:pt>
                <c:pt idx="61">
                  <c:v>94633</c:v>
                </c:pt>
                <c:pt idx="62">
                  <c:v>90078</c:v>
                </c:pt>
                <c:pt idx="63">
                  <c:v>104685</c:v>
                </c:pt>
                <c:pt idx="64">
                  <c:v>93514</c:v>
                </c:pt>
                <c:pt idx="65">
                  <c:v>91539</c:v>
                </c:pt>
                <c:pt idx="66">
                  <c:v>86133</c:v>
                </c:pt>
                <c:pt idx="67">
                  <c:v>104902</c:v>
                </c:pt>
                <c:pt idx="68">
                  <c:v>85913</c:v>
                </c:pt>
                <c:pt idx="69">
                  <c:v>89045</c:v>
                </c:pt>
                <c:pt idx="70">
                  <c:v>84843</c:v>
                </c:pt>
                <c:pt idx="71">
                  <c:v>85505</c:v>
                </c:pt>
                <c:pt idx="72">
                  <c:v>101291</c:v>
                </c:pt>
                <c:pt idx="73">
                  <c:v>88315</c:v>
                </c:pt>
                <c:pt idx="74">
                  <c:v>95981</c:v>
                </c:pt>
                <c:pt idx="75">
                  <c:v>91919</c:v>
                </c:pt>
                <c:pt idx="76">
                  <c:v>94798</c:v>
                </c:pt>
                <c:pt idx="77">
                  <c:v>93639</c:v>
                </c:pt>
                <c:pt idx="78">
                  <c:v>99918</c:v>
                </c:pt>
                <c:pt idx="79">
                  <c:v>93230</c:v>
                </c:pt>
                <c:pt idx="80">
                  <c:v>97192</c:v>
                </c:pt>
                <c:pt idx="81">
                  <c:v>93231</c:v>
                </c:pt>
                <c:pt idx="82">
                  <c:v>92537</c:v>
                </c:pt>
                <c:pt idx="83">
                  <c:v>89882</c:v>
                </c:pt>
                <c:pt idx="84">
                  <c:v>89472</c:v>
                </c:pt>
                <c:pt idx="85">
                  <c:v>87474</c:v>
                </c:pt>
                <c:pt idx="86">
                  <c:v>85564</c:v>
                </c:pt>
                <c:pt idx="87">
                  <c:v>85522</c:v>
                </c:pt>
                <c:pt idx="88">
                  <c:v>79841</c:v>
                </c:pt>
                <c:pt idx="89">
                  <c:v>81791</c:v>
                </c:pt>
                <c:pt idx="90">
                  <c:v>75178</c:v>
                </c:pt>
                <c:pt idx="91">
                  <c:v>84428</c:v>
                </c:pt>
                <c:pt idx="92">
                  <c:v>85903</c:v>
                </c:pt>
                <c:pt idx="93">
                  <c:v>101387</c:v>
                </c:pt>
                <c:pt idx="94">
                  <c:v>104737</c:v>
                </c:pt>
                <c:pt idx="95">
                  <c:v>108516</c:v>
                </c:pt>
                <c:pt idx="96">
                  <c:v>120405</c:v>
                </c:pt>
                <c:pt idx="97">
                  <c:v>124600</c:v>
                </c:pt>
                <c:pt idx="98">
                  <c:v>136437</c:v>
                </c:pt>
                <c:pt idx="99">
                  <c:v>175657</c:v>
                </c:pt>
                <c:pt idx="100">
                  <c:v>193429</c:v>
                </c:pt>
                <c:pt idx="101">
                  <c:v>235585</c:v>
                </c:pt>
                <c:pt idx="102">
                  <c:v>335940</c:v>
                </c:pt>
                <c:pt idx="103">
                  <c:v>546023</c:v>
                </c:pt>
                <c:pt idx="104">
                  <c:v>75766</c:v>
                </c:pt>
                <c:pt idx="105">
                  <c:v>65103</c:v>
                </c:pt>
                <c:pt idx="106">
                  <c:v>69669</c:v>
                </c:pt>
                <c:pt idx="107">
                  <c:v>6283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9579</c:v>
                </c:pt>
                <c:pt idx="1">
                  <c:v>69023</c:v>
                </c:pt>
                <c:pt idx="2">
                  <c:v>69309</c:v>
                </c:pt>
                <c:pt idx="3">
                  <c:v>69794</c:v>
                </c:pt>
                <c:pt idx="4">
                  <c:v>71430</c:v>
                </c:pt>
                <c:pt idx="5">
                  <c:v>72969</c:v>
                </c:pt>
                <c:pt idx="6">
                  <c:v>73790</c:v>
                </c:pt>
                <c:pt idx="7">
                  <c:v>76097</c:v>
                </c:pt>
                <c:pt idx="8">
                  <c:v>77978</c:v>
                </c:pt>
                <c:pt idx="9">
                  <c:v>79347</c:v>
                </c:pt>
                <c:pt idx="10">
                  <c:v>78548</c:v>
                </c:pt>
                <c:pt idx="11">
                  <c:v>78797</c:v>
                </c:pt>
                <c:pt idx="12">
                  <c:v>79623</c:v>
                </c:pt>
                <c:pt idx="13">
                  <c:v>79399</c:v>
                </c:pt>
                <c:pt idx="14">
                  <c:v>81429</c:v>
                </c:pt>
                <c:pt idx="15">
                  <c:v>79716</c:v>
                </c:pt>
                <c:pt idx="16">
                  <c:v>78387</c:v>
                </c:pt>
                <c:pt idx="17">
                  <c:v>79021</c:v>
                </c:pt>
                <c:pt idx="18">
                  <c:v>78949</c:v>
                </c:pt>
                <c:pt idx="19">
                  <c:v>79048</c:v>
                </c:pt>
                <c:pt idx="20">
                  <c:v>76890</c:v>
                </c:pt>
                <c:pt idx="21">
                  <c:v>76555</c:v>
                </c:pt>
                <c:pt idx="22">
                  <c:v>76185</c:v>
                </c:pt>
                <c:pt idx="23">
                  <c:v>76724</c:v>
                </c:pt>
                <c:pt idx="24">
                  <c:v>77163</c:v>
                </c:pt>
                <c:pt idx="25">
                  <c:v>78000</c:v>
                </c:pt>
                <c:pt idx="26">
                  <c:v>78591</c:v>
                </c:pt>
                <c:pt idx="27">
                  <c:v>78996</c:v>
                </c:pt>
                <c:pt idx="28">
                  <c:v>79891</c:v>
                </c:pt>
                <c:pt idx="29">
                  <c:v>80456</c:v>
                </c:pt>
                <c:pt idx="30">
                  <c:v>81074</c:v>
                </c:pt>
                <c:pt idx="31">
                  <c:v>82986</c:v>
                </c:pt>
                <c:pt idx="32">
                  <c:v>84389</c:v>
                </c:pt>
                <c:pt idx="33">
                  <c:v>83257</c:v>
                </c:pt>
                <c:pt idx="34">
                  <c:v>82768</c:v>
                </c:pt>
                <c:pt idx="35">
                  <c:v>81418</c:v>
                </c:pt>
                <c:pt idx="36">
                  <c:v>81166</c:v>
                </c:pt>
                <c:pt idx="37">
                  <c:v>80861</c:v>
                </c:pt>
                <c:pt idx="38">
                  <c:v>79654</c:v>
                </c:pt>
                <c:pt idx="39">
                  <c:v>76844</c:v>
                </c:pt>
                <c:pt idx="40">
                  <c:v>92395</c:v>
                </c:pt>
                <c:pt idx="41">
                  <c:v>104135</c:v>
                </c:pt>
                <c:pt idx="42">
                  <c:v>104658</c:v>
                </c:pt>
                <c:pt idx="43">
                  <c:v>108233</c:v>
                </c:pt>
                <c:pt idx="44">
                  <c:v>108812</c:v>
                </c:pt>
                <c:pt idx="45">
                  <c:v>107687</c:v>
                </c:pt>
                <c:pt idx="46">
                  <c:v>107433</c:v>
                </c:pt>
                <c:pt idx="47">
                  <c:v>109046</c:v>
                </c:pt>
                <c:pt idx="48">
                  <c:v>105525</c:v>
                </c:pt>
                <c:pt idx="49">
                  <c:v>100974</c:v>
                </c:pt>
                <c:pt idx="50">
                  <c:v>97757</c:v>
                </c:pt>
                <c:pt idx="51">
                  <c:v>113886</c:v>
                </c:pt>
                <c:pt idx="52">
                  <c:v>86300</c:v>
                </c:pt>
                <c:pt idx="53">
                  <c:v>72326</c:v>
                </c:pt>
                <c:pt idx="54">
                  <c:v>63811</c:v>
                </c:pt>
                <c:pt idx="55">
                  <c:v>63225</c:v>
                </c:pt>
                <c:pt idx="56">
                  <c:v>72650</c:v>
                </c:pt>
                <c:pt idx="57">
                  <c:v>82221</c:v>
                </c:pt>
                <c:pt idx="58">
                  <c:v>87947</c:v>
                </c:pt>
                <c:pt idx="59">
                  <c:v>91002</c:v>
                </c:pt>
                <c:pt idx="60">
                  <c:v>93691</c:v>
                </c:pt>
                <c:pt idx="61">
                  <c:v>95598</c:v>
                </c:pt>
                <c:pt idx="62">
                  <c:v>95610</c:v>
                </c:pt>
                <c:pt idx="63">
                  <c:v>95498</c:v>
                </c:pt>
                <c:pt idx="64">
                  <c:v>94499</c:v>
                </c:pt>
                <c:pt idx="65">
                  <c:v>92981</c:v>
                </c:pt>
                <c:pt idx="66">
                  <c:v>92362</c:v>
                </c:pt>
                <c:pt idx="67">
                  <c:v>91992</c:v>
                </c:pt>
                <c:pt idx="68">
                  <c:v>89742</c:v>
                </c:pt>
                <c:pt idx="69">
                  <c:v>90219</c:v>
                </c:pt>
                <c:pt idx="70">
                  <c:v>90176</c:v>
                </c:pt>
                <c:pt idx="71">
                  <c:v>91107</c:v>
                </c:pt>
                <c:pt idx="72">
                  <c:v>90845</c:v>
                </c:pt>
                <c:pt idx="73">
                  <c:v>91429</c:v>
                </c:pt>
                <c:pt idx="74">
                  <c:v>91962</c:v>
                </c:pt>
                <c:pt idx="75">
                  <c:v>93870</c:v>
                </c:pt>
                <c:pt idx="76">
                  <c:v>94732</c:v>
                </c:pt>
                <c:pt idx="77">
                  <c:v>94262</c:v>
                </c:pt>
                <c:pt idx="78">
                  <c:v>94856</c:v>
                </c:pt>
                <c:pt idx="79">
                  <c:v>94507</c:v>
                </c:pt>
                <c:pt idx="80">
                  <c:v>94168</c:v>
                </c:pt>
                <c:pt idx="81">
                  <c:v>93041</c:v>
                </c:pt>
                <c:pt idx="82">
                  <c:v>92685</c:v>
                </c:pt>
                <c:pt idx="83">
                  <c:v>90902</c:v>
                </c:pt>
                <c:pt idx="84">
                  <c:v>90034</c:v>
                </c:pt>
                <c:pt idx="85">
                  <c:v>87988</c:v>
                </c:pt>
                <c:pt idx="86">
                  <c:v>86513</c:v>
                </c:pt>
                <c:pt idx="87">
                  <c:v>84403</c:v>
                </c:pt>
                <c:pt idx="88">
                  <c:v>83778</c:v>
                </c:pt>
                <c:pt idx="89">
                  <c:v>82491</c:v>
                </c:pt>
                <c:pt idx="90">
                  <c:v>81381</c:v>
                </c:pt>
                <c:pt idx="91">
                  <c:v>80286</c:v>
                </c:pt>
                <c:pt idx="92">
                  <c:v>84187</c:v>
                </c:pt>
                <c:pt idx="93">
                  <c:v>100303</c:v>
                </c:pt>
                <c:pt idx="94">
                  <c:v>105717</c:v>
                </c:pt>
                <c:pt idx="95">
                  <c:v>111155</c:v>
                </c:pt>
                <c:pt idx="96">
                  <c:v>118564</c:v>
                </c:pt>
                <c:pt idx="97">
                  <c:v>126586</c:v>
                </c:pt>
                <c:pt idx="98">
                  <c:v>136682</c:v>
                </c:pt>
                <c:pt idx="99">
                  <c:v>137767</c:v>
                </c:pt>
                <c:pt idx="100">
                  <c:v>139086</c:v>
                </c:pt>
                <c:pt idx="101">
                  <c:v>138252</c:v>
                </c:pt>
                <c:pt idx="102">
                  <c:v>137595</c:v>
                </c:pt>
                <c:pt idx="103">
                  <c:v>137567</c:v>
                </c:pt>
                <c:pt idx="104">
                  <c:v>91348</c:v>
                </c:pt>
                <c:pt idx="105">
                  <c:v>73734</c:v>
                </c:pt>
                <c:pt idx="106">
                  <c:v>71394</c:v>
                </c:pt>
                <c:pt idx="107">
                  <c:v>6859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5</c:v>
                </c:pt>
                <c:pt idx="4">
                  <c:v>0.26</c:v>
                </c:pt>
                <c:pt idx="5">
                  <c:v>0.21</c:v>
                </c:pt>
                <c:pt idx="6">
                  <c:v>0.22</c:v>
                </c:pt>
                <c:pt idx="7">
                  <c:v>0.38</c:v>
                </c:pt>
                <c:pt idx="8">
                  <c:v>0.17</c:v>
                </c:pt>
                <c:pt idx="9">
                  <c:v>0.19</c:v>
                </c:pt>
                <c:pt idx="10">
                  <c:v>0.33</c:v>
                </c:pt>
                <c:pt idx="11">
                  <c:v>0.22</c:v>
                </c:pt>
                <c:pt idx="12">
                  <c:v>0.14000000000000001</c:v>
                </c:pt>
                <c:pt idx="13">
                  <c:v>0.12</c:v>
                </c:pt>
                <c:pt idx="14">
                  <c:v>0.2</c:v>
                </c:pt>
                <c:pt idx="15">
                  <c:v>0.38</c:v>
                </c:pt>
                <c:pt idx="16">
                  <c:v>0.19</c:v>
                </c:pt>
                <c:pt idx="17">
                  <c:v>0.04</c:v>
                </c:pt>
                <c:pt idx="18">
                  <c:v>0.06</c:v>
                </c:pt>
                <c:pt idx="19">
                  <c:v>0.05</c:v>
                </c:pt>
                <c:pt idx="20">
                  <c:v>0.1</c:v>
                </c:pt>
                <c:pt idx="21">
                  <c:v>0.01</c:v>
                </c:pt>
                <c:pt idx="22">
                  <c:v>0</c:v>
                </c:pt>
                <c:pt idx="23">
                  <c:v>0.01</c:v>
                </c:pt>
                <c:pt idx="24">
                  <c:v>0</c:v>
                </c:pt>
                <c:pt idx="25">
                  <c:v>0.01</c:v>
                </c:pt>
                <c:pt idx="26">
                  <c:v>0.01</c:v>
                </c:pt>
                <c:pt idx="27">
                  <c:v>0.09</c:v>
                </c:pt>
                <c:pt idx="28">
                  <c:v>0.27</c:v>
                </c:pt>
                <c:pt idx="29">
                  <c:v>0.15</c:v>
                </c:pt>
                <c:pt idx="30">
                  <c:v>0.12</c:v>
                </c:pt>
                <c:pt idx="31">
                  <c:v>0.12</c:v>
                </c:pt>
                <c:pt idx="32">
                  <c:v>0.11</c:v>
                </c:pt>
                <c:pt idx="33">
                  <c:v>0.1</c:v>
                </c:pt>
                <c:pt idx="34">
                  <c:v>0.08</c:v>
                </c:pt>
                <c:pt idx="35">
                  <c:v>0.02</c:v>
                </c:pt>
                <c:pt idx="36">
                  <c:v>0.01</c:v>
                </c:pt>
                <c:pt idx="37">
                  <c:v>0.01</c:v>
                </c:pt>
                <c:pt idx="38">
                  <c:v>0.05</c:v>
                </c:pt>
                <c:pt idx="39">
                  <c:v>0.1</c:v>
                </c:pt>
                <c:pt idx="40">
                  <c:v>0.43</c:v>
                </c:pt>
                <c:pt idx="41">
                  <c:v>0.45</c:v>
                </c:pt>
                <c:pt idx="42">
                  <c:v>0.48</c:v>
                </c:pt>
                <c:pt idx="43">
                  <c:v>0.52</c:v>
                </c:pt>
                <c:pt idx="44">
                  <c:v>0.49</c:v>
                </c:pt>
                <c:pt idx="45">
                  <c:v>0.55000000000000004</c:v>
                </c:pt>
                <c:pt idx="46">
                  <c:v>0.67</c:v>
                </c:pt>
                <c:pt idx="47">
                  <c:v>0.66</c:v>
                </c:pt>
                <c:pt idx="48">
                  <c:v>0.7</c:v>
                </c:pt>
                <c:pt idx="49">
                  <c:v>0.83</c:v>
                </c:pt>
                <c:pt idx="50">
                  <c:v>0.89</c:v>
                </c:pt>
                <c:pt idx="51">
                  <c:v>0.95</c:v>
                </c:pt>
                <c:pt idx="52">
                  <c:v>0.37</c:v>
                </c:pt>
                <c:pt idx="53">
                  <c:v>0.32</c:v>
                </c:pt>
                <c:pt idx="54">
                  <c:v>0.12</c:v>
                </c:pt>
                <c:pt idx="55">
                  <c:v>0.06</c:v>
                </c:pt>
                <c:pt idx="56">
                  <c:v>0.03</c:v>
                </c:pt>
                <c:pt idx="57">
                  <c:v>0.03</c:v>
                </c:pt>
                <c:pt idx="58">
                  <c:v>0.15</c:v>
                </c:pt>
                <c:pt idx="59">
                  <c:v>0.34</c:v>
                </c:pt>
                <c:pt idx="60">
                  <c:v>0.23</c:v>
                </c:pt>
                <c:pt idx="61">
                  <c:v>0.21</c:v>
                </c:pt>
                <c:pt idx="62">
                  <c:v>0.24</c:v>
                </c:pt>
                <c:pt idx="63">
                  <c:v>0.38</c:v>
                </c:pt>
                <c:pt idx="64">
                  <c:v>0.22</c:v>
                </c:pt>
                <c:pt idx="65">
                  <c:v>0.22</c:v>
                </c:pt>
                <c:pt idx="66">
                  <c:v>0.25</c:v>
                </c:pt>
                <c:pt idx="67">
                  <c:v>0.37</c:v>
                </c:pt>
                <c:pt idx="68">
                  <c:v>0.24</c:v>
                </c:pt>
                <c:pt idx="69">
                  <c:v>0.21</c:v>
                </c:pt>
                <c:pt idx="70">
                  <c:v>0.21</c:v>
                </c:pt>
                <c:pt idx="71">
                  <c:v>0.24</c:v>
                </c:pt>
                <c:pt idx="72">
                  <c:v>0.22</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1</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56</c:v>
                </c:pt>
                <c:pt idx="1">
                  <c:v>5</c:v>
                </c:pt>
                <c:pt idx="2">
                  <c:v>96</c:v>
                </c:pt>
                <c:pt idx="3">
                  <c:v>46</c:v>
                </c:pt>
                <c:pt idx="4">
                  <c:v>36</c:v>
                </c:pt>
                <c:pt idx="5">
                  <c:v>59</c:v>
                </c:pt>
                <c:pt idx="6">
                  <c:v>12</c:v>
                </c:pt>
                <c:pt idx="7">
                  <c:v>46</c:v>
                </c:pt>
                <c:pt idx="8">
                  <c:v>5</c:v>
                </c:pt>
                <c:pt idx="9">
                  <c:v>4</c:v>
                </c:pt>
                <c:pt idx="10">
                  <c:v>10</c:v>
                </c:pt>
                <c:pt idx="11">
                  <c:v>103</c:v>
                </c:pt>
                <c:pt idx="12">
                  <c:v>33</c:v>
                </c:pt>
                <c:pt idx="13">
                  <c:v>44</c:v>
                </c:pt>
                <c:pt idx="14">
                  <c:v>2360</c:v>
                </c:pt>
                <c:pt idx="15">
                  <c:v>1769</c:v>
                </c:pt>
                <c:pt idx="16">
                  <c:v>911</c:v>
                </c:pt>
                <c:pt idx="17">
                  <c:v>471</c:v>
                </c:pt>
                <c:pt idx="18">
                  <c:v>417</c:v>
                </c:pt>
                <c:pt idx="19">
                  <c:v>295</c:v>
                </c:pt>
                <c:pt idx="20">
                  <c:v>304</c:v>
                </c:pt>
                <c:pt idx="21">
                  <c:v>194</c:v>
                </c:pt>
                <c:pt idx="22">
                  <c:v>350</c:v>
                </c:pt>
                <c:pt idx="23">
                  <c:v>125</c:v>
                </c:pt>
                <c:pt idx="24">
                  <c:v>252</c:v>
                </c:pt>
                <c:pt idx="25">
                  <c:v>334</c:v>
                </c:pt>
                <c:pt idx="26">
                  <c:v>594</c:v>
                </c:pt>
                <c:pt idx="27">
                  <c:v>360</c:v>
                </c:pt>
                <c:pt idx="28">
                  <c:v>310</c:v>
                </c:pt>
                <c:pt idx="29">
                  <c:v>398</c:v>
                </c:pt>
                <c:pt idx="30">
                  <c:v>299</c:v>
                </c:pt>
                <c:pt idx="31">
                  <c:v>365</c:v>
                </c:pt>
                <c:pt idx="32">
                  <c:v>420</c:v>
                </c:pt>
                <c:pt idx="33">
                  <c:v>519</c:v>
                </c:pt>
                <c:pt idx="34">
                  <c:v>560</c:v>
                </c:pt>
                <c:pt idx="35">
                  <c:v>261</c:v>
                </c:pt>
                <c:pt idx="36">
                  <c:v>511</c:v>
                </c:pt>
                <c:pt idx="37">
                  <c:v>360</c:v>
                </c:pt>
                <c:pt idx="38">
                  <c:v>393</c:v>
                </c:pt>
                <c:pt idx="39">
                  <c:v>721</c:v>
                </c:pt>
                <c:pt idx="40">
                  <c:v>944</c:v>
                </c:pt>
                <c:pt idx="41">
                  <c:v>735</c:v>
                </c:pt>
                <c:pt idx="42">
                  <c:v>982</c:v>
                </c:pt>
                <c:pt idx="43">
                  <c:v>946</c:v>
                </c:pt>
                <c:pt idx="44">
                  <c:v>718</c:v>
                </c:pt>
                <c:pt idx="45">
                  <c:v>1020</c:v>
                </c:pt>
                <c:pt idx="46">
                  <c:v>1192</c:v>
                </c:pt>
                <c:pt idx="47">
                  <c:v>979</c:v>
                </c:pt>
                <c:pt idx="48">
                  <c:v>1079</c:v>
                </c:pt>
                <c:pt idx="49">
                  <c:v>947</c:v>
                </c:pt>
                <c:pt idx="50">
                  <c:v>1150</c:v>
                </c:pt>
                <c:pt idx="51">
                  <c:v>1036</c:v>
                </c:pt>
                <c:pt idx="52">
                  <c:v>782</c:v>
                </c:pt>
                <c:pt idx="53">
                  <c:v>1272</c:v>
                </c:pt>
                <c:pt idx="54">
                  <c:v>827</c:v>
                </c:pt>
                <c:pt idx="55">
                  <c:v>833</c:v>
                </c:pt>
                <c:pt idx="56">
                  <c:v>942</c:v>
                </c:pt>
                <c:pt idx="57">
                  <c:v>1191</c:v>
                </c:pt>
                <c:pt idx="58">
                  <c:v>804</c:v>
                </c:pt>
                <c:pt idx="59">
                  <c:v>1074</c:v>
                </c:pt>
                <c:pt idx="60">
                  <c:v>1107</c:v>
                </c:pt>
                <c:pt idx="61">
                  <c:v>1181</c:v>
                </c:pt>
                <c:pt idx="62">
                  <c:v>1210</c:v>
                </c:pt>
                <c:pt idx="63">
                  <c:v>684</c:v>
                </c:pt>
                <c:pt idx="64">
                  <c:v>813</c:v>
                </c:pt>
                <c:pt idx="65">
                  <c:v>821</c:v>
                </c:pt>
                <c:pt idx="66">
                  <c:v>668</c:v>
                </c:pt>
                <c:pt idx="67">
                  <c:v>1049</c:v>
                </c:pt>
                <c:pt idx="68">
                  <c:v>1053</c:v>
                </c:pt>
                <c:pt idx="69">
                  <c:v>915</c:v>
                </c:pt>
                <c:pt idx="70">
                  <c:v>940</c:v>
                </c:pt>
                <c:pt idx="71">
                  <c:v>906</c:v>
                </c:pt>
                <c:pt idx="72">
                  <c:v>882</c:v>
                </c:pt>
                <c:pt idx="73">
                  <c:v>795</c:v>
                </c:pt>
                <c:pt idx="74">
                  <c:v>671</c:v>
                </c:pt>
                <c:pt idx="75">
                  <c:v>711</c:v>
                </c:pt>
                <c:pt idx="76">
                  <c:v>992</c:v>
                </c:pt>
                <c:pt idx="77">
                  <c:v>615</c:v>
                </c:pt>
                <c:pt idx="78">
                  <c:v>689</c:v>
                </c:pt>
                <c:pt idx="79">
                  <c:v>347</c:v>
                </c:pt>
                <c:pt idx="80">
                  <c:v>411</c:v>
                </c:pt>
                <c:pt idx="81">
                  <c:v>516</c:v>
                </c:pt>
                <c:pt idx="82">
                  <c:v>719</c:v>
                </c:pt>
                <c:pt idx="83">
                  <c:v>588</c:v>
                </c:pt>
                <c:pt idx="84">
                  <c:v>581</c:v>
                </c:pt>
                <c:pt idx="85">
                  <c:v>491</c:v>
                </c:pt>
                <c:pt idx="86">
                  <c:v>499</c:v>
                </c:pt>
                <c:pt idx="87">
                  <c:v>759</c:v>
                </c:pt>
                <c:pt idx="88">
                  <c:v>686</c:v>
                </c:pt>
                <c:pt idx="89">
                  <c:v>656</c:v>
                </c:pt>
                <c:pt idx="90">
                  <c:v>1128</c:v>
                </c:pt>
                <c:pt idx="91">
                  <c:v>924</c:v>
                </c:pt>
                <c:pt idx="92">
                  <c:v>795</c:v>
                </c:pt>
                <c:pt idx="93">
                  <c:v>674</c:v>
                </c:pt>
                <c:pt idx="94">
                  <c:v>610</c:v>
                </c:pt>
                <c:pt idx="95">
                  <c:v>505</c:v>
                </c:pt>
                <c:pt idx="96">
                  <c:v>718</c:v>
                </c:pt>
                <c:pt idx="97">
                  <c:v>681</c:v>
                </c:pt>
                <c:pt idx="98">
                  <c:v>794</c:v>
                </c:pt>
                <c:pt idx="99">
                  <c:v>727</c:v>
                </c:pt>
                <c:pt idx="100">
                  <c:v>711</c:v>
                </c:pt>
                <c:pt idx="101">
                  <c:v>713</c:v>
                </c:pt>
                <c:pt idx="102">
                  <c:v>822</c:v>
                </c:pt>
                <c:pt idx="103">
                  <c:v>809</c:v>
                </c:pt>
                <c:pt idx="104">
                  <c:v>756</c:v>
                </c:pt>
                <c:pt idx="105">
                  <c:v>910</c:v>
                </c:pt>
                <c:pt idx="106">
                  <c:v>645</c:v>
                </c:pt>
                <c:pt idx="107">
                  <c:v>8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1908</c:v>
                </c:pt>
                <c:pt idx="1">
                  <c:v>45471</c:v>
                </c:pt>
                <c:pt idx="2">
                  <c:v>50625</c:v>
                </c:pt>
                <c:pt idx="3">
                  <c:v>52893</c:v>
                </c:pt>
                <c:pt idx="4">
                  <c:v>56592</c:v>
                </c:pt>
                <c:pt idx="5">
                  <c:v>51988</c:v>
                </c:pt>
                <c:pt idx="6">
                  <c:v>43663</c:v>
                </c:pt>
                <c:pt idx="7">
                  <c:v>33763</c:v>
                </c:pt>
                <c:pt idx="8">
                  <c:v>31184</c:v>
                </c:pt>
                <c:pt idx="9">
                  <c:v>31263</c:v>
                </c:pt>
                <c:pt idx="10">
                  <c:v>20146</c:v>
                </c:pt>
                <c:pt idx="11">
                  <c:v>14242</c:v>
                </c:pt>
                <c:pt idx="12">
                  <c:v>8795</c:v>
                </c:pt>
                <c:pt idx="13">
                  <c:v>6046</c:v>
                </c:pt>
                <c:pt idx="14">
                  <c:v>10459</c:v>
                </c:pt>
                <c:pt idx="15">
                  <c:v>35880</c:v>
                </c:pt>
                <c:pt idx="16">
                  <c:v>58406</c:v>
                </c:pt>
                <c:pt idx="17">
                  <c:v>67405</c:v>
                </c:pt>
                <c:pt idx="18">
                  <c:v>66708</c:v>
                </c:pt>
                <c:pt idx="19">
                  <c:v>66172</c:v>
                </c:pt>
                <c:pt idx="20">
                  <c:v>67913</c:v>
                </c:pt>
                <c:pt idx="21">
                  <c:v>72245</c:v>
                </c:pt>
                <c:pt idx="22">
                  <c:v>72407</c:v>
                </c:pt>
                <c:pt idx="23">
                  <c:v>70766</c:v>
                </c:pt>
                <c:pt idx="24">
                  <c:v>68862</c:v>
                </c:pt>
                <c:pt idx="25">
                  <c:v>70853</c:v>
                </c:pt>
                <c:pt idx="26">
                  <c:v>75298</c:v>
                </c:pt>
                <c:pt idx="27">
                  <c:v>71604</c:v>
                </c:pt>
                <c:pt idx="28">
                  <c:v>69079</c:v>
                </c:pt>
                <c:pt idx="29">
                  <c:v>64292</c:v>
                </c:pt>
                <c:pt idx="30">
                  <c:v>71803</c:v>
                </c:pt>
                <c:pt idx="31">
                  <c:v>66376</c:v>
                </c:pt>
                <c:pt idx="32">
                  <c:v>67920</c:v>
                </c:pt>
                <c:pt idx="33">
                  <c:v>65351</c:v>
                </c:pt>
                <c:pt idx="34">
                  <c:v>62905</c:v>
                </c:pt>
                <c:pt idx="35">
                  <c:v>63342</c:v>
                </c:pt>
                <c:pt idx="36">
                  <c:v>57846</c:v>
                </c:pt>
                <c:pt idx="37">
                  <c:v>57917</c:v>
                </c:pt>
                <c:pt idx="38">
                  <c:v>57144</c:v>
                </c:pt>
                <c:pt idx="39">
                  <c:v>59221</c:v>
                </c:pt>
                <c:pt idx="40">
                  <c:v>55128</c:v>
                </c:pt>
                <c:pt idx="41">
                  <c:v>53475</c:v>
                </c:pt>
                <c:pt idx="42">
                  <c:v>54264</c:v>
                </c:pt>
                <c:pt idx="43">
                  <c:v>55747</c:v>
                </c:pt>
                <c:pt idx="44">
                  <c:v>56833</c:v>
                </c:pt>
                <c:pt idx="45">
                  <c:v>53291</c:v>
                </c:pt>
                <c:pt idx="46">
                  <c:v>50052</c:v>
                </c:pt>
                <c:pt idx="47">
                  <c:v>52073</c:v>
                </c:pt>
                <c:pt idx="48">
                  <c:v>56550</c:v>
                </c:pt>
                <c:pt idx="49">
                  <c:v>54284</c:v>
                </c:pt>
                <c:pt idx="50">
                  <c:v>64641</c:v>
                </c:pt>
                <c:pt idx="51">
                  <c:v>52471</c:v>
                </c:pt>
                <c:pt idx="52">
                  <c:v>55909</c:v>
                </c:pt>
                <c:pt idx="53">
                  <c:v>51274</c:v>
                </c:pt>
                <c:pt idx="54">
                  <c:v>45383</c:v>
                </c:pt>
                <c:pt idx="55">
                  <c:v>49438</c:v>
                </c:pt>
                <c:pt idx="56">
                  <c:v>51562</c:v>
                </c:pt>
                <c:pt idx="57">
                  <c:v>49907</c:v>
                </c:pt>
                <c:pt idx="58">
                  <c:v>49182</c:v>
                </c:pt>
                <c:pt idx="59">
                  <c:v>51288</c:v>
                </c:pt>
                <c:pt idx="60">
                  <c:v>52762</c:v>
                </c:pt>
                <c:pt idx="61">
                  <c:v>53029</c:v>
                </c:pt>
                <c:pt idx="62">
                  <c:v>48994</c:v>
                </c:pt>
                <c:pt idx="63">
                  <c:v>48103</c:v>
                </c:pt>
                <c:pt idx="64">
                  <c:v>50638</c:v>
                </c:pt>
                <c:pt idx="65">
                  <c:v>50708</c:v>
                </c:pt>
                <c:pt idx="66">
                  <c:v>49969</c:v>
                </c:pt>
                <c:pt idx="67">
                  <c:v>50185</c:v>
                </c:pt>
                <c:pt idx="68">
                  <c:v>49244</c:v>
                </c:pt>
                <c:pt idx="69">
                  <c:v>53964</c:v>
                </c:pt>
                <c:pt idx="70">
                  <c:v>50859</c:v>
                </c:pt>
                <c:pt idx="71">
                  <c:v>47663</c:v>
                </c:pt>
                <c:pt idx="72">
                  <c:v>49953</c:v>
                </c:pt>
                <c:pt idx="73">
                  <c:v>51456</c:v>
                </c:pt>
                <c:pt idx="74">
                  <c:v>55433</c:v>
                </c:pt>
                <c:pt idx="75">
                  <c:v>51816</c:v>
                </c:pt>
                <c:pt idx="76">
                  <c:v>48304</c:v>
                </c:pt>
                <c:pt idx="77">
                  <c:v>36684</c:v>
                </c:pt>
                <c:pt idx="78">
                  <c:v>29614</c:v>
                </c:pt>
                <c:pt idx="79">
                  <c:v>17979</c:v>
                </c:pt>
                <c:pt idx="80">
                  <c:v>14666</c:v>
                </c:pt>
                <c:pt idx="81">
                  <c:v>28271</c:v>
                </c:pt>
                <c:pt idx="82">
                  <c:v>44700</c:v>
                </c:pt>
                <c:pt idx="83">
                  <c:v>46668</c:v>
                </c:pt>
                <c:pt idx="84">
                  <c:v>49397</c:v>
                </c:pt>
                <c:pt idx="85">
                  <c:v>49492</c:v>
                </c:pt>
                <c:pt idx="86">
                  <c:v>50571</c:v>
                </c:pt>
                <c:pt idx="87">
                  <c:v>49417</c:v>
                </c:pt>
                <c:pt idx="88">
                  <c:v>46847</c:v>
                </c:pt>
                <c:pt idx="89">
                  <c:v>45770</c:v>
                </c:pt>
                <c:pt idx="90">
                  <c:v>44059</c:v>
                </c:pt>
                <c:pt idx="91">
                  <c:v>48449</c:v>
                </c:pt>
                <c:pt idx="92">
                  <c:v>43633</c:v>
                </c:pt>
                <c:pt idx="93">
                  <c:v>45171</c:v>
                </c:pt>
                <c:pt idx="94">
                  <c:v>42876</c:v>
                </c:pt>
                <c:pt idx="95">
                  <c:v>43349</c:v>
                </c:pt>
                <c:pt idx="96">
                  <c:v>45852</c:v>
                </c:pt>
                <c:pt idx="97">
                  <c:v>42538</c:v>
                </c:pt>
                <c:pt idx="98">
                  <c:v>41303</c:v>
                </c:pt>
                <c:pt idx="99">
                  <c:v>39282</c:v>
                </c:pt>
                <c:pt idx="100">
                  <c:v>43048</c:v>
                </c:pt>
                <c:pt idx="101">
                  <c:v>42622</c:v>
                </c:pt>
                <c:pt idx="102">
                  <c:v>44727</c:v>
                </c:pt>
                <c:pt idx="103">
                  <c:v>46792</c:v>
                </c:pt>
                <c:pt idx="104">
                  <c:v>43285</c:v>
                </c:pt>
                <c:pt idx="105">
                  <c:v>40434</c:v>
                </c:pt>
                <c:pt idx="106">
                  <c:v>45877</c:v>
                </c:pt>
                <c:pt idx="107">
                  <c:v>433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1964</c:v>
                </c:pt>
                <c:pt idx="1">
                  <c:v>45476</c:v>
                </c:pt>
                <c:pt idx="2">
                  <c:v>50721</c:v>
                </c:pt>
                <c:pt idx="3">
                  <c:v>52939</c:v>
                </c:pt>
                <c:pt idx="4">
                  <c:v>56628</c:v>
                </c:pt>
                <c:pt idx="5">
                  <c:v>52047</c:v>
                </c:pt>
                <c:pt idx="6">
                  <c:v>43675</c:v>
                </c:pt>
                <c:pt idx="7">
                  <c:v>33809</c:v>
                </c:pt>
                <c:pt idx="8">
                  <c:v>31189</c:v>
                </c:pt>
                <c:pt idx="9">
                  <c:v>31267</c:v>
                </c:pt>
                <c:pt idx="10">
                  <c:v>20156</c:v>
                </c:pt>
                <c:pt idx="11">
                  <c:v>14345</c:v>
                </c:pt>
                <c:pt idx="12">
                  <c:v>8828</c:v>
                </c:pt>
                <c:pt idx="13">
                  <c:v>6090</c:v>
                </c:pt>
                <c:pt idx="14">
                  <c:v>12819</c:v>
                </c:pt>
                <c:pt idx="15">
                  <c:v>37649</c:v>
                </c:pt>
                <c:pt idx="16">
                  <c:v>59317</c:v>
                </c:pt>
                <c:pt idx="17">
                  <c:v>67876</c:v>
                </c:pt>
                <c:pt idx="18">
                  <c:v>67125</c:v>
                </c:pt>
                <c:pt idx="19">
                  <c:v>66467</c:v>
                </c:pt>
                <c:pt idx="20">
                  <c:v>68217</c:v>
                </c:pt>
                <c:pt idx="21">
                  <c:v>72439</c:v>
                </c:pt>
                <c:pt idx="22">
                  <c:v>72757</c:v>
                </c:pt>
                <c:pt idx="23">
                  <c:v>70891</c:v>
                </c:pt>
                <c:pt idx="24">
                  <c:v>69114</c:v>
                </c:pt>
                <c:pt idx="25">
                  <c:v>71187</c:v>
                </c:pt>
                <c:pt idx="26">
                  <c:v>75892</c:v>
                </c:pt>
                <c:pt idx="27">
                  <c:v>71964</c:v>
                </c:pt>
                <c:pt idx="28">
                  <c:v>69389</c:v>
                </c:pt>
                <c:pt idx="29">
                  <c:v>64690</c:v>
                </c:pt>
                <c:pt idx="30">
                  <c:v>72102</c:v>
                </c:pt>
                <c:pt idx="31">
                  <c:v>66741</c:v>
                </c:pt>
                <c:pt idx="32">
                  <c:v>68340</c:v>
                </c:pt>
                <c:pt idx="33">
                  <c:v>65870</c:v>
                </c:pt>
                <c:pt idx="34">
                  <c:v>63465</c:v>
                </c:pt>
                <c:pt idx="35">
                  <c:v>63603</c:v>
                </c:pt>
                <c:pt idx="36">
                  <c:v>58357</c:v>
                </c:pt>
                <c:pt idx="37">
                  <c:v>58277</c:v>
                </c:pt>
                <c:pt idx="38">
                  <c:v>57537</c:v>
                </c:pt>
                <c:pt idx="39">
                  <c:v>59942</c:v>
                </c:pt>
                <c:pt idx="40">
                  <c:v>56072</c:v>
                </c:pt>
                <c:pt idx="41">
                  <c:v>54210</c:v>
                </c:pt>
                <c:pt idx="42">
                  <c:v>55246</c:v>
                </c:pt>
                <c:pt idx="43">
                  <c:v>56693</c:v>
                </c:pt>
                <c:pt idx="44">
                  <c:v>57551</c:v>
                </c:pt>
                <c:pt idx="45">
                  <c:v>54311</c:v>
                </c:pt>
                <c:pt idx="46">
                  <c:v>51244</c:v>
                </c:pt>
                <c:pt idx="47">
                  <c:v>53052</c:v>
                </c:pt>
                <c:pt idx="48">
                  <c:v>57629</c:v>
                </c:pt>
                <c:pt idx="49">
                  <c:v>55231</c:v>
                </c:pt>
                <c:pt idx="50">
                  <c:v>65791</c:v>
                </c:pt>
                <c:pt idx="51">
                  <c:v>53507</c:v>
                </c:pt>
                <c:pt idx="52">
                  <c:v>56691</c:v>
                </c:pt>
                <c:pt idx="53">
                  <c:v>52546</c:v>
                </c:pt>
                <c:pt idx="54">
                  <c:v>46210</c:v>
                </c:pt>
                <c:pt idx="55">
                  <c:v>50271</c:v>
                </c:pt>
                <c:pt idx="56">
                  <c:v>52504</c:v>
                </c:pt>
                <c:pt idx="57">
                  <c:v>51098</c:v>
                </c:pt>
                <c:pt idx="58">
                  <c:v>49986</c:v>
                </c:pt>
                <c:pt idx="59">
                  <c:v>52362</c:v>
                </c:pt>
                <c:pt idx="60">
                  <c:v>53869</c:v>
                </c:pt>
                <c:pt idx="61">
                  <c:v>54210</c:v>
                </c:pt>
                <c:pt idx="62">
                  <c:v>50204</c:v>
                </c:pt>
                <c:pt idx="63">
                  <c:v>48787</c:v>
                </c:pt>
                <c:pt idx="64">
                  <c:v>51451</c:v>
                </c:pt>
                <c:pt idx="65">
                  <c:v>51529</c:v>
                </c:pt>
                <c:pt idx="66">
                  <c:v>50637</c:v>
                </c:pt>
                <c:pt idx="67">
                  <c:v>51234</c:v>
                </c:pt>
                <c:pt idx="68">
                  <c:v>50297</c:v>
                </c:pt>
                <c:pt idx="69">
                  <c:v>54879</c:v>
                </c:pt>
                <c:pt idx="70">
                  <c:v>51799</c:v>
                </c:pt>
                <c:pt idx="71">
                  <c:v>48569</c:v>
                </c:pt>
                <c:pt idx="72">
                  <c:v>50835</c:v>
                </c:pt>
                <c:pt idx="73">
                  <c:v>52251</c:v>
                </c:pt>
                <c:pt idx="74">
                  <c:v>56104</c:v>
                </c:pt>
                <c:pt idx="75">
                  <c:v>52527</c:v>
                </c:pt>
                <c:pt idx="76">
                  <c:v>49296</c:v>
                </c:pt>
                <c:pt idx="77">
                  <c:v>37299</c:v>
                </c:pt>
                <c:pt idx="78">
                  <c:v>30303</c:v>
                </c:pt>
                <c:pt idx="79">
                  <c:v>18326</c:v>
                </c:pt>
                <c:pt idx="80">
                  <c:v>15077</c:v>
                </c:pt>
                <c:pt idx="81">
                  <c:v>28787</c:v>
                </c:pt>
                <c:pt idx="82">
                  <c:v>45419</c:v>
                </c:pt>
                <c:pt idx="83">
                  <c:v>47256</c:v>
                </c:pt>
                <c:pt idx="84">
                  <c:v>49978</c:v>
                </c:pt>
                <c:pt idx="85">
                  <c:v>49983</c:v>
                </c:pt>
                <c:pt idx="86">
                  <c:v>51070</c:v>
                </c:pt>
                <c:pt idx="87">
                  <c:v>50176</c:v>
                </c:pt>
                <c:pt idx="88">
                  <c:v>47533</c:v>
                </c:pt>
                <c:pt idx="89">
                  <c:v>46426</c:v>
                </c:pt>
                <c:pt idx="90">
                  <c:v>45187</c:v>
                </c:pt>
                <c:pt idx="91">
                  <c:v>49373</c:v>
                </c:pt>
                <c:pt idx="92">
                  <c:v>44428</c:v>
                </c:pt>
                <c:pt idx="93">
                  <c:v>45845</c:v>
                </c:pt>
                <c:pt idx="94">
                  <c:v>43486</c:v>
                </c:pt>
                <c:pt idx="95">
                  <c:v>43854</c:v>
                </c:pt>
                <c:pt idx="96">
                  <c:v>46570</c:v>
                </c:pt>
                <c:pt idx="97">
                  <c:v>43219</c:v>
                </c:pt>
                <c:pt idx="98">
                  <c:v>42097</c:v>
                </c:pt>
                <c:pt idx="99">
                  <c:v>40009</c:v>
                </c:pt>
                <c:pt idx="100">
                  <c:v>43759</c:v>
                </c:pt>
                <c:pt idx="101">
                  <c:v>43335</c:v>
                </c:pt>
                <c:pt idx="102">
                  <c:v>45549</c:v>
                </c:pt>
                <c:pt idx="103">
                  <c:v>47601</c:v>
                </c:pt>
                <c:pt idx="104">
                  <c:v>44041</c:v>
                </c:pt>
                <c:pt idx="105">
                  <c:v>41344</c:v>
                </c:pt>
                <c:pt idx="106">
                  <c:v>46522</c:v>
                </c:pt>
                <c:pt idx="107">
                  <c:v>441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7911</c:v>
                </c:pt>
                <c:pt idx="1">
                  <c:v>49706</c:v>
                </c:pt>
                <c:pt idx="2">
                  <c:v>50139</c:v>
                </c:pt>
                <c:pt idx="3">
                  <c:v>49247</c:v>
                </c:pt>
                <c:pt idx="4">
                  <c:v>47341</c:v>
                </c:pt>
                <c:pt idx="5">
                  <c:v>45995</c:v>
                </c:pt>
                <c:pt idx="6">
                  <c:v>44221</c:v>
                </c:pt>
                <c:pt idx="7">
                  <c:v>40396</c:v>
                </c:pt>
                <c:pt idx="8">
                  <c:v>35564</c:v>
                </c:pt>
                <c:pt idx="9">
                  <c:v>29559</c:v>
                </c:pt>
                <c:pt idx="10">
                  <c:v>23789</c:v>
                </c:pt>
                <c:pt idx="11">
                  <c:v>19131</c:v>
                </c:pt>
                <c:pt idx="12">
                  <c:v>15339</c:v>
                </c:pt>
                <c:pt idx="13">
                  <c:v>11602</c:v>
                </c:pt>
                <c:pt idx="14">
                  <c:v>48523</c:v>
                </c:pt>
                <c:pt idx="15">
                  <c:v>51087</c:v>
                </c:pt>
                <c:pt idx="16">
                  <c:v>52094</c:v>
                </c:pt>
                <c:pt idx="17">
                  <c:v>53982</c:v>
                </c:pt>
                <c:pt idx="18">
                  <c:v>56131</c:v>
                </c:pt>
                <c:pt idx="19">
                  <c:v>63928</c:v>
                </c:pt>
                <c:pt idx="20">
                  <c:v>68267</c:v>
                </c:pt>
                <c:pt idx="21">
                  <c:v>69365</c:v>
                </c:pt>
                <c:pt idx="22">
                  <c:v>69801</c:v>
                </c:pt>
                <c:pt idx="23">
                  <c:v>70438</c:v>
                </c:pt>
                <c:pt idx="24">
                  <c:v>70124</c:v>
                </c:pt>
                <c:pt idx="25">
                  <c:v>69229</c:v>
                </c:pt>
                <c:pt idx="26">
                  <c:v>70771</c:v>
                </c:pt>
                <c:pt idx="27">
                  <c:v>74607</c:v>
                </c:pt>
                <c:pt idx="28">
                  <c:v>73159</c:v>
                </c:pt>
                <c:pt idx="29">
                  <c:v>72004</c:v>
                </c:pt>
                <c:pt idx="30">
                  <c:v>70160</c:v>
                </c:pt>
                <c:pt idx="31">
                  <c:v>67897</c:v>
                </c:pt>
                <c:pt idx="32">
                  <c:v>66810</c:v>
                </c:pt>
                <c:pt idx="33">
                  <c:v>65424</c:v>
                </c:pt>
                <c:pt idx="34">
                  <c:v>64617</c:v>
                </c:pt>
                <c:pt idx="35">
                  <c:v>62797</c:v>
                </c:pt>
                <c:pt idx="36">
                  <c:v>61922</c:v>
                </c:pt>
                <c:pt idx="37">
                  <c:v>60422</c:v>
                </c:pt>
                <c:pt idx="38">
                  <c:v>58958</c:v>
                </c:pt>
                <c:pt idx="39">
                  <c:v>57956</c:v>
                </c:pt>
                <c:pt idx="40">
                  <c:v>57102</c:v>
                </c:pt>
                <c:pt idx="41">
                  <c:v>56995</c:v>
                </c:pt>
                <c:pt idx="42">
                  <c:v>56500</c:v>
                </c:pt>
                <c:pt idx="43">
                  <c:v>55729</c:v>
                </c:pt>
                <c:pt idx="44">
                  <c:v>54870</c:v>
                </c:pt>
                <c:pt idx="45">
                  <c:v>55064</c:v>
                </c:pt>
                <c:pt idx="46">
                  <c:v>55198</c:v>
                </c:pt>
                <c:pt idx="47">
                  <c:v>56520</c:v>
                </c:pt>
                <c:pt idx="48">
                  <c:v>56113</c:v>
                </c:pt>
                <c:pt idx="49">
                  <c:v>56018</c:v>
                </c:pt>
                <c:pt idx="50">
                  <c:v>55789</c:v>
                </c:pt>
                <c:pt idx="51">
                  <c:v>55163</c:v>
                </c:pt>
                <c:pt idx="52">
                  <c:v>54816</c:v>
                </c:pt>
                <c:pt idx="53">
                  <c:v>54192</c:v>
                </c:pt>
                <c:pt idx="54">
                  <c:v>53668</c:v>
                </c:pt>
                <c:pt idx="55">
                  <c:v>51710</c:v>
                </c:pt>
                <c:pt idx="56">
                  <c:v>51498</c:v>
                </c:pt>
                <c:pt idx="57">
                  <c:v>51159</c:v>
                </c:pt>
                <c:pt idx="58">
                  <c:v>51371</c:v>
                </c:pt>
                <c:pt idx="59">
                  <c:v>51854</c:v>
                </c:pt>
                <c:pt idx="60">
                  <c:v>51658</c:v>
                </c:pt>
                <c:pt idx="61">
                  <c:v>51541</c:v>
                </c:pt>
                <c:pt idx="62">
                  <c:v>51584</c:v>
                </c:pt>
                <c:pt idx="63">
                  <c:v>51648</c:v>
                </c:pt>
                <c:pt idx="64">
                  <c:v>51505</c:v>
                </c:pt>
                <c:pt idx="65">
                  <c:v>51066</c:v>
                </c:pt>
                <c:pt idx="66">
                  <c:v>51155</c:v>
                </c:pt>
                <c:pt idx="67">
                  <c:v>51355</c:v>
                </c:pt>
                <c:pt idx="68">
                  <c:v>51334</c:v>
                </c:pt>
                <c:pt idx="69">
                  <c:v>51243</c:v>
                </c:pt>
                <c:pt idx="70">
                  <c:v>51333</c:v>
                </c:pt>
                <c:pt idx="71">
                  <c:v>52018</c:v>
                </c:pt>
                <c:pt idx="72">
                  <c:v>52185</c:v>
                </c:pt>
                <c:pt idx="73">
                  <c:v>52062</c:v>
                </c:pt>
                <c:pt idx="74">
                  <c:v>49879</c:v>
                </c:pt>
                <c:pt idx="75">
                  <c:v>47199</c:v>
                </c:pt>
                <c:pt idx="76">
                  <c:v>43412</c:v>
                </c:pt>
                <c:pt idx="77">
                  <c:v>38950</c:v>
                </c:pt>
                <c:pt idx="78">
                  <c:v>36016</c:v>
                </c:pt>
                <c:pt idx="79">
                  <c:v>34692</c:v>
                </c:pt>
                <c:pt idx="80">
                  <c:v>34021</c:v>
                </c:pt>
                <c:pt idx="81">
                  <c:v>34101</c:v>
                </c:pt>
                <c:pt idx="82">
                  <c:v>35667</c:v>
                </c:pt>
                <c:pt idx="83">
                  <c:v>38246</c:v>
                </c:pt>
                <c:pt idx="84">
                  <c:v>42262</c:v>
                </c:pt>
                <c:pt idx="85">
                  <c:v>46334</c:v>
                </c:pt>
                <c:pt idx="86">
                  <c:v>48523</c:v>
                </c:pt>
                <c:pt idx="87">
                  <c:v>48494</c:v>
                </c:pt>
                <c:pt idx="88">
                  <c:v>48760</c:v>
                </c:pt>
                <c:pt idx="89">
                  <c:v>48080</c:v>
                </c:pt>
                <c:pt idx="90">
                  <c:v>47563</c:v>
                </c:pt>
                <c:pt idx="91">
                  <c:v>46621</c:v>
                </c:pt>
                <c:pt idx="92">
                  <c:v>45828</c:v>
                </c:pt>
                <c:pt idx="93">
                  <c:v>45702</c:v>
                </c:pt>
                <c:pt idx="94">
                  <c:v>45304</c:v>
                </c:pt>
                <c:pt idx="95">
                  <c:v>44917</c:v>
                </c:pt>
                <c:pt idx="96">
                  <c:v>43749</c:v>
                </c:pt>
                <c:pt idx="97">
                  <c:v>43674</c:v>
                </c:pt>
                <c:pt idx="98">
                  <c:v>43319</c:v>
                </c:pt>
                <c:pt idx="99">
                  <c:v>43580</c:v>
                </c:pt>
                <c:pt idx="100">
                  <c:v>44061</c:v>
                </c:pt>
                <c:pt idx="101">
                  <c:v>43761</c:v>
                </c:pt>
                <c:pt idx="102">
                  <c:v>43532</c:v>
                </c:pt>
                <c:pt idx="103">
                  <c:v>44075</c:v>
                </c:pt>
                <c:pt idx="104">
                  <c:v>44631</c:v>
                </c:pt>
                <c:pt idx="105">
                  <c:v>44864</c:v>
                </c:pt>
                <c:pt idx="106">
                  <c:v>45515</c:v>
                </c:pt>
                <c:pt idx="107">
                  <c:v>45689</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01</c:v>
                </c:pt>
                <c:pt idx="12">
                  <c:v>0.01</c:v>
                </c:pt>
                <c:pt idx="13">
                  <c:v>0.01</c:v>
                </c:pt>
                <c:pt idx="14">
                  <c:v>0.35</c:v>
                </c:pt>
                <c:pt idx="15">
                  <c:v>0.12</c:v>
                </c:pt>
                <c:pt idx="16">
                  <c:v>0.04</c:v>
                </c:pt>
                <c:pt idx="17">
                  <c:v>0.02</c:v>
                </c:pt>
                <c:pt idx="18">
                  <c:v>0.01</c:v>
                </c:pt>
                <c:pt idx="19">
                  <c:v>0.01</c:v>
                </c:pt>
                <c:pt idx="20">
                  <c:v>0.01</c:v>
                </c:pt>
                <c:pt idx="21">
                  <c:v>0</c:v>
                </c:pt>
                <c:pt idx="22">
                  <c:v>0.01</c:v>
                </c:pt>
                <c:pt idx="23">
                  <c:v>0</c:v>
                </c:pt>
                <c:pt idx="24">
                  <c:v>0</c:v>
                </c:pt>
                <c:pt idx="25">
                  <c:v>0.01</c:v>
                </c:pt>
                <c:pt idx="26">
                  <c:v>0.01</c:v>
                </c:pt>
                <c:pt idx="27">
                  <c:v>0.01</c:v>
                </c:pt>
                <c:pt idx="28">
                  <c:v>0</c:v>
                </c:pt>
                <c:pt idx="29">
                  <c:v>0.01</c:v>
                </c:pt>
                <c:pt idx="30">
                  <c:v>0</c:v>
                </c:pt>
                <c:pt idx="31">
                  <c:v>0.01</c:v>
                </c:pt>
                <c:pt idx="32">
                  <c:v>0.01</c:v>
                </c:pt>
                <c:pt idx="33">
                  <c:v>0.01</c:v>
                </c:pt>
                <c:pt idx="34">
                  <c:v>0.01</c:v>
                </c:pt>
                <c:pt idx="35">
                  <c:v>0</c:v>
                </c:pt>
                <c:pt idx="36">
                  <c:v>0.01</c:v>
                </c:pt>
                <c:pt idx="37">
                  <c:v>0.01</c:v>
                </c:pt>
                <c:pt idx="38">
                  <c:v>0.01</c:v>
                </c:pt>
                <c:pt idx="39">
                  <c:v>0.01</c:v>
                </c:pt>
                <c:pt idx="40">
                  <c:v>0.02</c:v>
                </c:pt>
                <c:pt idx="41">
                  <c:v>0.02</c:v>
                </c:pt>
                <c:pt idx="42">
                  <c:v>0.02</c:v>
                </c:pt>
                <c:pt idx="43">
                  <c:v>0.02</c:v>
                </c:pt>
                <c:pt idx="44">
                  <c:v>0.01</c:v>
                </c:pt>
                <c:pt idx="45">
                  <c:v>0.02</c:v>
                </c:pt>
                <c:pt idx="46">
                  <c:v>0.03</c:v>
                </c:pt>
                <c:pt idx="47">
                  <c:v>0.02</c:v>
                </c:pt>
                <c:pt idx="48">
                  <c:v>0.02</c:v>
                </c:pt>
                <c:pt idx="49">
                  <c:v>0.02</c:v>
                </c:pt>
                <c:pt idx="50">
                  <c:v>0.02</c:v>
                </c:pt>
                <c:pt idx="51">
                  <c:v>0.02</c:v>
                </c:pt>
                <c:pt idx="52">
                  <c:v>0.02</c:v>
                </c:pt>
                <c:pt idx="53">
                  <c:v>0.03</c:v>
                </c:pt>
                <c:pt idx="54">
                  <c:v>0.02</c:v>
                </c:pt>
                <c:pt idx="55">
                  <c:v>0.02</c:v>
                </c:pt>
                <c:pt idx="56">
                  <c:v>0.02</c:v>
                </c:pt>
                <c:pt idx="57">
                  <c:v>0.03</c:v>
                </c:pt>
                <c:pt idx="58">
                  <c:v>0.02</c:v>
                </c:pt>
                <c:pt idx="59">
                  <c:v>0.02</c:v>
                </c:pt>
                <c:pt idx="60">
                  <c:v>0.02</c:v>
                </c:pt>
                <c:pt idx="61">
                  <c:v>0.02</c:v>
                </c:pt>
                <c:pt idx="62">
                  <c:v>0.03</c:v>
                </c:pt>
                <c:pt idx="63">
                  <c:v>0.02</c:v>
                </c:pt>
                <c:pt idx="64">
                  <c:v>0.02</c:v>
                </c:pt>
                <c:pt idx="65">
                  <c:v>0.02</c:v>
                </c:pt>
                <c:pt idx="66">
                  <c:v>0.02</c:v>
                </c:pt>
                <c:pt idx="67">
                  <c:v>0.02</c:v>
                </c:pt>
                <c:pt idx="68">
                  <c:v>0.02</c:v>
                </c:pt>
                <c:pt idx="69">
                  <c:v>0.02</c:v>
                </c:pt>
                <c:pt idx="70">
                  <c:v>0.02</c:v>
                </c:pt>
                <c:pt idx="71">
                  <c:v>0.02</c:v>
                </c:pt>
                <c:pt idx="72">
                  <c:v>0.02</c:v>
                </c:pt>
                <c:pt idx="73">
                  <c:v>0.02</c:v>
                </c:pt>
                <c:pt idx="74">
                  <c:v>0.01</c:v>
                </c:pt>
                <c:pt idx="75">
                  <c:v>0.02</c:v>
                </c:pt>
                <c:pt idx="76">
                  <c:v>0.02</c:v>
                </c:pt>
                <c:pt idx="77">
                  <c:v>0.02</c:v>
                </c:pt>
                <c:pt idx="78">
                  <c:v>0.03</c:v>
                </c:pt>
                <c:pt idx="79">
                  <c:v>0.02</c:v>
                </c:pt>
                <c:pt idx="80">
                  <c:v>0.04</c:v>
                </c:pt>
                <c:pt idx="81">
                  <c:v>0.02</c:v>
                </c:pt>
                <c:pt idx="82">
                  <c:v>0.02</c:v>
                </c:pt>
                <c:pt idx="83">
                  <c:v>0.01</c:v>
                </c:pt>
                <c:pt idx="84">
                  <c:v>0.01</c:v>
                </c:pt>
                <c:pt idx="85">
                  <c:v>0.01</c:v>
                </c:pt>
                <c:pt idx="86">
                  <c:v>0.01</c:v>
                </c:pt>
                <c:pt idx="87">
                  <c:v>0.02</c:v>
                </c:pt>
                <c:pt idx="88">
                  <c:v>0.02</c:v>
                </c:pt>
                <c:pt idx="89">
                  <c:v>0.02</c:v>
                </c:pt>
                <c:pt idx="90">
                  <c:v>0.03</c:v>
                </c:pt>
                <c:pt idx="91">
                  <c:v>0.02</c:v>
                </c:pt>
                <c:pt idx="92">
                  <c:v>0.02</c:v>
                </c:pt>
                <c:pt idx="93">
                  <c:v>0.02</c:v>
                </c:pt>
                <c:pt idx="94">
                  <c:v>0.02</c:v>
                </c:pt>
                <c:pt idx="95">
                  <c:v>0.01</c:v>
                </c:pt>
                <c:pt idx="96">
                  <c:v>0.02</c:v>
                </c:pt>
                <c:pt idx="97">
                  <c:v>0.02</c:v>
                </c:pt>
                <c:pt idx="98">
                  <c:v>0.02</c:v>
                </c:pt>
                <c:pt idx="99">
                  <c:v>0.02</c:v>
                </c:pt>
                <c:pt idx="100">
                  <c:v>0.02</c:v>
                </c:pt>
                <c:pt idx="101">
                  <c:v>0.02</c:v>
                </c:pt>
                <c:pt idx="102">
                  <c:v>0.02</c:v>
                </c:pt>
                <c:pt idx="103">
                  <c:v>0.02</c:v>
                </c:pt>
                <c:pt idx="104">
                  <c:v>0.02</c:v>
                </c:pt>
                <c:pt idx="105">
                  <c:v>0.03</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B$2:$B$99</c:f>
              <c:numCache>
                <c:formatCode>General</c:formatCode>
                <c:ptCount val="98"/>
                <c:pt idx="0">
                  <c:v>206</c:v>
                </c:pt>
                <c:pt idx="1">
                  <c:v>84</c:v>
                </c:pt>
                <c:pt idx="2">
                  <c:v>125</c:v>
                </c:pt>
                <c:pt idx="3">
                  <c:v>121</c:v>
                </c:pt>
                <c:pt idx="4">
                  <c:v>51</c:v>
                </c:pt>
                <c:pt idx="5">
                  <c:v>550</c:v>
                </c:pt>
                <c:pt idx="6">
                  <c:v>354</c:v>
                </c:pt>
                <c:pt idx="7">
                  <c:v>336</c:v>
                </c:pt>
                <c:pt idx="8">
                  <c:v>194</c:v>
                </c:pt>
                <c:pt idx="9">
                  <c:v>332</c:v>
                </c:pt>
                <c:pt idx="10">
                  <c:v>362</c:v>
                </c:pt>
                <c:pt idx="11">
                  <c:v>470</c:v>
                </c:pt>
                <c:pt idx="12">
                  <c:v>749</c:v>
                </c:pt>
                <c:pt idx="13">
                  <c:v>664</c:v>
                </c:pt>
                <c:pt idx="14">
                  <c:v>214</c:v>
                </c:pt>
                <c:pt idx="15">
                  <c:v>602</c:v>
                </c:pt>
                <c:pt idx="16">
                  <c:v>612</c:v>
                </c:pt>
                <c:pt idx="17">
                  <c:v>413</c:v>
                </c:pt>
                <c:pt idx="18">
                  <c:v>374</c:v>
                </c:pt>
                <c:pt idx="19">
                  <c:v>388</c:v>
                </c:pt>
                <c:pt idx="20">
                  <c:v>445</c:v>
                </c:pt>
                <c:pt idx="21">
                  <c:v>211</c:v>
                </c:pt>
                <c:pt idx="22">
                  <c:v>527</c:v>
                </c:pt>
                <c:pt idx="23">
                  <c:v>360</c:v>
                </c:pt>
                <c:pt idx="24">
                  <c:v>286</c:v>
                </c:pt>
                <c:pt idx="25">
                  <c:v>228</c:v>
                </c:pt>
                <c:pt idx="26">
                  <c:v>327</c:v>
                </c:pt>
                <c:pt idx="27">
                  <c:v>360</c:v>
                </c:pt>
                <c:pt idx="28">
                  <c:v>422</c:v>
                </c:pt>
                <c:pt idx="29">
                  <c:v>496</c:v>
                </c:pt>
                <c:pt idx="30">
                  <c:v>467</c:v>
                </c:pt>
                <c:pt idx="31">
                  <c:v>201</c:v>
                </c:pt>
                <c:pt idx="32">
                  <c:v>385</c:v>
                </c:pt>
                <c:pt idx="33">
                  <c:v>378</c:v>
                </c:pt>
                <c:pt idx="34">
                  <c:v>297</c:v>
                </c:pt>
                <c:pt idx="35">
                  <c:v>508</c:v>
                </c:pt>
                <c:pt idx="36">
                  <c:v>468</c:v>
                </c:pt>
                <c:pt idx="37">
                  <c:v>477</c:v>
                </c:pt>
                <c:pt idx="38">
                  <c:v>382</c:v>
                </c:pt>
                <c:pt idx="39">
                  <c:v>567</c:v>
                </c:pt>
                <c:pt idx="40">
                  <c:v>5840</c:v>
                </c:pt>
                <c:pt idx="41">
                  <c:v>10128</c:v>
                </c:pt>
                <c:pt idx="42">
                  <c:v>11567</c:v>
                </c:pt>
                <c:pt idx="43">
                  <c:v>12777</c:v>
                </c:pt>
                <c:pt idx="44">
                  <c:v>16244</c:v>
                </c:pt>
                <c:pt idx="45">
                  <c:v>19817</c:v>
                </c:pt>
                <c:pt idx="46">
                  <c:v>37584</c:v>
                </c:pt>
                <c:pt idx="47">
                  <c:v>35732</c:v>
                </c:pt>
                <c:pt idx="48">
                  <c:v>55479</c:v>
                </c:pt>
                <c:pt idx="49">
                  <c:v>89738</c:v>
                </c:pt>
                <c:pt idx="50">
                  <c:v>220308</c:v>
                </c:pt>
                <c:pt idx="51">
                  <c:v>439869</c:v>
                </c:pt>
                <c:pt idx="52">
                  <c:v>60057</c:v>
                </c:pt>
                <c:pt idx="53">
                  <c:v>4681</c:v>
                </c:pt>
                <c:pt idx="54">
                  <c:v>1539</c:v>
                </c:pt>
                <c:pt idx="55">
                  <c:v>898</c:v>
                </c:pt>
                <c:pt idx="56">
                  <c:v>418</c:v>
                </c:pt>
                <c:pt idx="57">
                  <c:v>452</c:v>
                </c:pt>
                <c:pt idx="58">
                  <c:v>211</c:v>
                </c:pt>
                <c:pt idx="59">
                  <c:v>104</c:v>
                </c:pt>
                <c:pt idx="60">
                  <c:v>58</c:v>
                </c:pt>
                <c:pt idx="61">
                  <c:v>67</c:v>
                </c:pt>
                <c:pt idx="62">
                  <c:v>39</c:v>
                </c:pt>
                <c:pt idx="63">
                  <c:v>243</c:v>
                </c:pt>
                <c:pt idx="64">
                  <c:v>28</c:v>
                </c:pt>
                <c:pt idx="65">
                  <c:v>52</c:v>
                </c:pt>
                <c:pt idx="66">
                  <c:v>38</c:v>
                </c:pt>
                <c:pt idx="67">
                  <c:v>30</c:v>
                </c:pt>
                <c:pt idx="68">
                  <c:v>14</c:v>
                </c:pt>
                <c:pt idx="69">
                  <c:v>8</c:v>
                </c:pt>
                <c:pt idx="70">
                  <c:v>41</c:v>
                </c:pt>
                <c:pt idx="71">
                  <c:v>37</c:v>
                </c:pt>
                <c:pt idx="72">
                  <c:v>8</c:v>
                </c:pt>
                <c:pt idx="73">
                  <c:v>0</c:v>
                </c:pt>
                <c:pt idx="74">
                  <c:v>0</c:v>
                </c:pt>
                <c:pt idx="75">
                  <c:v>12</c:v>
                </c:pt>
                <c:pt idx="76">
                  <c:v>3</c:v>
                </c:pt>
                <c:pt idx="77">
                  <c:v>4</c:v>
                </c:pt>
                <c:pt idx="78">
                  <c:v>4</c:v>
                </c:pt>
                <c:pt idx="79">
                  <c:v>4</c:v>
                </c:pt>
                <c:pt idx="80">
                  <c:v>4</c:v>
                </c:pt>
                <c:pt idx="81">
                  <c:v>8</c:v>
                </c:pt>
                <c:pt idx="82">
                  <c:v>8</c:v>
                </c:pt>
                <c:pt idx="83">
                  <c:v>8</c:v>
                </c:pt>
                <c:pt idx="84">
                  <c:v>23</c:v>
                </c:pt>
                <c:pt idx="85">
                  <c:v>8</c:v>
                </c:pt>
                <c:pt idx="86">
                  <c:v>0</c:v>
                </c:pt>
                <c:pt idx="87">
                  <c:v>18</c:v>
                </c:pt>
                <c:pt idx="88">
                  <c:v>12</c:v>
                </c:pt>
                <c:pt idx="89">
                  <c:v>10</c:v>
                </c:pt>
                <c:pt idx="90">
                  <c:v>14</c:v>
                </c:pt>
                <c:pt idx="91">
                  <c:v>7</c:v>
                </c:pt>
                <c:pt idx="92">
                  <c:v>15</c:v>
                </c:pt>
                <c:pt idx="93">
                  <c:v>0</c:v>
                </c:pt>
                <c:pt idx="94">
                  <c:v>37</c:v>
                </c:pt>
                <c:pt idx="95">
                  <c:v>30</c:v>
                </c:pt>
                <c:pt idx="96">
                  <c:v>45</c:v>
                </c:pt>
                <c:pt idx="97">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C$2:$C$99</c:f>
              <c:numCache>
                <c:formatCode>General</c:formatCode>
                <c:ptCount val="98"/>
                <c:pt idx="0">
                  <c:v>457</c:v>
                </c:pt>
                <c:pt idx="1">
                  <c:v>1459</c:v>
                </c:pt>
                <c:pt idx="2">
                  <c:v>4286</c:v>
                </c:pt>
                <c:pt idx="3">
                  <c:v>8176</c:v>
                </c:pt>
                <c:pt idx="4">
                  <c:v>9296</c:v>
                </c:pt>
                <c:pt idx="5">
                  <c:v>9445</c:v>
                </c:pt>
                <c:pt idx="6">
                  <c:v>8229</c:v>
                </c:pt>
                <c:pt idx="7">
                  <c:v>9439</c:v>
                </c:pt>
                <c:pt idx="8">
                  <c:v>11206</c:v>
                </c:pt>
                <c:pt idx="9">
                  <c:v>9030</c:v>
                </c:pt>
                <c:pt idx="10">
                  <c:v>8743</c:v>
                </c:pt>
                <c:pt idx="11">
                  <c:v>8725</c:v>
                </c:pt>
                <c:pt idx="12">
                  <c:v>9464</c:v>
                </c:pt>
                <c:pt idx="13">
                  <c:v>11287</c:v>
                </c:pt>
                <c:pt idx="14">
                  <c:v>11568</c:v>
                </c:pt>
                <c:pt idx="15">
                  <c:v>11046</c:v>
                </c:pt>
                <c:pt idx="16">
                  <c:v>10182</c:v>
                </c:pt>
                <c:pt idx="17">
                  <c:v>11421</c:v>
                </c:pt>
                <c:pt idx="18">
                  <c:v>10499</c:v>
                </c:pt>
                <c:pt idx="19">
                  <c:v>10837</c:v>
                </c:pt>
                <c:pt idx="20">
                  <c:v>10721</c:v>
                </c:pt>
                <c:pt idx="21">
                  <c:v>10176</c:v>
                </c:pt>
                <c:pt idx="22">
                  <c:v>10362</c:v>
                </c:pt>
                <c:pt idx="23">
                  <c:v>10990</c:v>
                </c:pt>
                <c:pt idx="24">
                  <c:v>11643</c:v>
                </c:pt>
                <c:pt idx="25">
                  <c:v>10327</c:v>
                </c:pt>
                <c:pt idx="26">
                  <c:v>11101</c:v>
                </c:pt>
                <c:pt idx="27">
                  <c:v>10170</c:v>
                </c:pt>
                <c:pt idx="28">
                  <c:v>10786</c:v>
                </c:pt>
                <c:pt idx="29">
                  <c:v>9828</c:v>
                </c:pt>
                <c:pt idx="30">
                  <c:v>10625</c:v>
                </c:pt>
                <c:pt idx="31">
                  <c:v>10389</c:v>
                </c:pt>
                <c:pt idx="32">
                  <c:v>10680</c:v>
                </c:pt>
                <c:pt idx="33">
                  <c:v>10455</c:v>
                </c:pt>
                <c:pt idx="34">
                  <c:v>9900</c:v>
                </c:pt>
                <c:pt idx="35">
                  <c:v>8819</c:v>
                </c:pt>
                <c:pt idx="36">
                  <c:v>8191</c:v>
                </c:pt>
                <c:pt idx="37">
                  <c:v>8770</c:v>
                </c:pt>
                <c:pt idx="38">
                  <c:v>8585</c:v>
                </c:pt>
                <c:pt idx="39">
                  <c:v>8391</c:v>
                </c:pt>
                <c:pt idx="40">
                  <c:v>8294</c:v>
                </c:pt>
                <c:pt idx="41">
                  <c:v>8139</c:v>
                </c:pt>
                <c:pt idx="42">
                  <c:v>7766</c:v>
                </c:pt>
                <c:pt idx="43">
                  <c:v>7486</c:v>
                </c:pt>
                <c:pt idx="44">
                  <c:v>7667</c:v>
                </c:pt>
                <c:pt idx="45">
                  <c:v>7371</c:v>
                </c:pt>
                <c:pt idx="46">
                  <c:v>6286</c:v>
                </c:pt>
                <c:pt idx="47">
                  <c:v>6669</c:v>
                </c:pt>
                <c:pt idx="48">
                  <c:v>5818</c:v>
                </c:pt>
                <c:pt idx="49">
                  <c:v>4054</c:v>
                </c:pt>
                <c:pt idx="50">
                  <c:v>3195</c:v>
                </c:pt>
                <c:pt idx="51">
                  <c:v>4301</c:v>
                </c:pt>
                <c:pt idx="52">
                  <c:v>2397</c:v>
                </c:pt>
                <c:pt idx="53">
                  <c:v>489</c:v>
                </c:pt>
                <c:pt idx="54">
                  <c:v>177</c:v>
                </c:pt>
                <c:pt idx="55">
                  <c:v>21</c:v>
                </c:pt>
                <c:pt idx="56">
                  <c:v>37</c:v>
                </c:pt>
                <c:pt idx="57">
                  <c:v>44</c:v>
                </c:pt>
                <c:pt idx="58">
                  <c:v>35</c:v>
                </c:pt>
                <c:pt idx="59">
                  <c:v>86</c:v>
                </c:pt>
                <c:pt idx="60">
                  <c:v>51</c:v>
                </c:pt>
                <c:pt idx="61">
                  <c:v>34</c:v>
                </c:pt>
                <c:pt idx="62">
                  <c:v>61</c:v>
                </c:pt>
                <c:pt idx="63">
                  <c:v>22</c:v>
                </c:pt>
                <c:pt idx="64">
                  <c:v>44</c:v>
                </c:pt>
                <c:pt idx="65">
                  <c:v>-3</c:v>
                </c:pt>
                <c:pt idx="66">
                  <c:v>10</c:v>
                </c:pt>
                <c:pt idx="67">
                  <c:v>7</c:v>
                </c:pt>
                <c:pt idx="68">
                  <c:v>0</c:v>
                </c:pt>
                <c:pt idx="69">
                  <c:v>24</c:v>
                </c:pt>
                <c:pt idx="70">
                  <c:v>39</c:v>
                </c:pt>
                <c:pt idx="71">
                  <c:v>16</c:v>
                </c:pt>
                <c:pt idx="72">
                  <c:v>3</c:v>
                </c:pt>
                <c:pt idx="73">
                  <c:v>40</c:v>
                </c:pt>
                <c:pt idx="74">
                  <c:v>12</c:v>
                </c:pt>
                <c:pt idx="75">
                  <c:v>0</c:v>
                </c:pt>
                <c:pt idx="76">
                  <c:v>0</c:v>
                </c:pt>
                <c:pt idx="77">
                  <c:v>0</c:v>
                </c:pt>
                <c:pt idx="78">
                  <c:v>0</c:v>
                </c:pt>
                <c:pt idx="79">
                  <c:v>0</c:v>
                </c:pt>
                <c:pt idx="80">
                  <c:v>4</c:v>
                </c:pt>
                <c:pt idx="81">
                  <c:v>0</c:v>
                </c:pt>
                <c:pt idx="82">
                  <c:v>0</c:v>
                </c:pt>
                <c:pt idx="83">
                  <c:v>0</c:v>
                </c:pt>
                <c:pt idx="84">
                  <c:v>18</c:v>
                </c:pt>
                <c:pt idx="85">
                  <c:v>0</c:v>
                </c:pt>
                <c:pt idx="86">
                  <c:v>36</c:v>
                </c:pt>
                <c:pt idx="87">
                  <c:v>0</c:v>
                </c:pt>
                <c:pt idx="88">
                  <c:v>4</c:v>
                </c:pt>
                <c:pt idx="89">
                  <c:v>0</c:v>
                </c:pt>
                <c:pt idx="90">
                  <c:v>13</c:v>
                </c:pt>
                <c:pt idx="91">
                  <c:v>0</c:v>
                </c:pt>
                <c:pt idx="92">
                  <c:v>9</c:v>
                </c:pt>
                <c:pt idx="93">
                  <c:v>99</c:v>
                </c:pt>
                <c:pt idx="94">
                  <c:v>213</c:v>
                </c:pt>
                <c:pt idx="95">
                  <c:v>783</c:v>
                </c:pt>
                <c:pt idx="96">
                  <c:v>3837</c:v>
                </c:pt>
                <c:pt idx="97">
                  <c:v>633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D$2:$D$99</c:f>
              <c:numCache>
                <c:formatCode>General</c:formatCode>
                <c:ptCount val="98"/>
                <c:pt idx="0">
                  <c:v>663</c:v>
                </c:pt>
                <c:pt idx="1">
                  <c:v>1543</c:v>
                </c:pt>
                <c:pt idx="2">
                  <c:v>4411</c:v>
                </c:pt>
                <c:pt idx="3">
                  <c:v>8297</c:v>
                </c:pt>
                <c:pt idx="4">
                  <c:v>9347</c:v>
                </c:pt>
                <c:pt idx="5">
                  <c:v>9995</c:v>
                </c:pt>
                <c:pt idx="6">
                  <c:v>8583</c:v>
                </c:pt>
                <c:pt idx="7">
                  <c:v>9775</c:v>
                </c:pt>
                <c:pt idx="8">
                  <c:v>11400</c:v>
                </c:pt>
                <c:pt idx="9">
                  <c:v>9362</c:v>
                </c:pt>
                <c:pt idx="10">
                  <c:v>9105</c:v>
                </c:pt>
                <c:pt idx="11">
                  <c:v>9195</c:v>
                </c:pt>
                <c:pt idx="12">
                  <c:v>10213</c:v>
                </c:pt>
                <c:pt idx="13">
                  <c:v>11951</c:v>
                </c:pt>
                <c:pt idx="14">
                  <c:v>11782</c:v>
                </c:pt>
                <c:pt idx="15">
                  <c:v>11648</c:v>
                </c:pt>
                <c:pt idx="16">
                  <c:v>10794</c:v>
                </c:pt>
                <c:pt idx="17">
                  <c:v>11834</c:v>
                </c:pt>
                <c:pt idx="18">
                  <c:v>10873</c:v>
                </c:pt>
                <c:pt idx="19">
                  <c:v>11225</c:v>
                </c:pt>
                <c:pt idx="20">
                  <c:v>11166</c:v>
                </c:pt>
                <c:pt idx="21">
                  <c:v>10387</c:v>
                </c:pt>
                <c:pt idx="22">
                  <c:v>10889</c:v>
                </c:pt>
                <c:pt idx="23">
                  <c:v>11350</c:v>
                </c:pt>
                <c:pt idx="24">
                  <c:v>11929</c:v>
                </c:pt>
                <c:pt idx="25">
                  <c:v>10555</c:v>
                </c:pt>
                <c:pt idx="26">
                  <c:v>11428</c:v>
                </c:pt>
                <c:pt idx="27">
                  <c:v>10530</c:v>
                </c:pt>
                <c:pt idx="28">
                  <c:v>11208</c:v>
                </c:pt>
                <c:pt idx="29">
                  <c:v>10324</c:v>
                </c:pt>
                <c:pt idx="30">
                  <c:v>11092</c:v>
                </c:pt>
                <c:pt idx="31">
                  <c:v>10590</c:v>
                </c:pt>
                <c:pt idx="32">
                  <c:v>11065</c:v>
                </c:pt>
                <c:pt idx="33">
                  <c:v>10833</c:v>
                </c:pt>
                <c:pt idx="34">
                  <c:v>10197</c:v>
                </c:pt>
                <c:pt idx="35">
                  <c:v>9327</c:v>
                </c:pt>
                <c:pt idx="36">
                  <c:v>8659</c:v>
                </c:pt>
                <c:pt idx="37">
                  <c:v>9247</c:v>
                </c:pt>
                <c:pt idx="38">
                  <c:v>8967</c:v>
                </c:pt>
                <c:pt idx="39">
                  <c:v>8958</c:v>
                </c:pt>
                <c:pt idx="40">
                  <c:v>14134</c:v>
                </c:pt>
                <c:pt idx="41">
                  <c:v>18267</c:v>
                </c:pt>
                <c:pt idx="42">
                  <c:v>19333</c:v>
                </c:pt>
                <c:pt idx="43">
                  <c:v>20263</c:v>
                </c:pt>
                <c:pt idx="44">
                  <c:v>23911</c:v>
                </c:pt>
                <c:pt idx="45">
                  <c:v>27188</c:v>
                </c:pt>
                <c:pt idx="46">
                  <c:v>43870</c:v>
                </c:pt>
                <c:pt idx="47">
                  <c:v>42401</c:v>
                </c:pt>
                <c:pt idx="48">
                  <c:v>61297</c:v>
                </c:pt>
                <c:pt idx="49">
                  <c:v>93792</c:v>
                </c:pt>
                <c:pt idx="50">
                  <c:v>223503</c:v>
                </c:pt>
                <c:pt idx="51">
                  <c:v>444170</c:v>
                </c:pt>
                <c:pt idx="52">
                  <c:v>62454</c:v>
                </c:pt>
                <c:pt idx="53">
                  <c:v>5170</c:v>
                </c:pt>
                <c:pt idx="54">
                  <c:v>1716</c:v>
                </c:pt>
                <c:pt idx="55">
                  <c:v>919</c:v>
                </c:pt>
                <c:pt idx="56">
                  <c:v>455</c:v>
                </c:pt>
                <c:pt idx="57">
                  <c:v>496</c:v>
                </c:pt>
                <c:pt idx="58">
                  <c:v>246</c:v>
                </c:pt>
                <c:pt idx="59">
                  <c:v>190</c:v>
                </c:pt>
                <c:pt idx="60">
                  <c:v>109</c:v>
                </c:pt>
                <c:pt idx="61">
                  <c:v>101</c:v>
                </c:pt>
                <c:pt idx="62">
                  <c:v>100</c:v>
                </c:pt>
                <c:pt idx="63">
                  <c:v>265</c:v>
                </c:pt>
                <c:pt idx="64">
                  <c:v>72</c:v>
                </c:pt>
                <c:pt idx="65">
                  <c:v>49</c:v>
                </c:pt>
                <c:pt idx="66">
                  <c:v>48</c:v>
                </c:pt>
                <c:pt idx="67">
                  <c:v>37</c:v>
                </c:pt>
                <c:pt idx="68">
                  <c:v>14</c:v>
                </c:pt>
                <c:pt idx="69">
                  <c:v>32</c:v>
                </c:pt>
                <c:pt idx="70">
                  <c:v>80</c:v>
                </c:pt>
                <c:pt idx="71">
                  <c:v>53</c:v>
                </c:pt>
                <c:pt idx="72">
                  <c:v>11</c:v>
                </c:pt>
                <c:pt idx="73">
                  <c:v>40</c:v>
                </c:pt>
                <c:pt idx="74">
                  <c:v>12</c:v>
                </c:pt>
                <c:pt idx="75">
                  <c:v>12</c:v>
                </c:pt>
                <c:pt idx="76">
                  <c:v>3</c:v>
                </c:pt>
                <c:pt idx="77">
                  <c:v>4</c:v>
                </c:pt>
                <c:pt idx="78">
                  <c:v>4</c:v>
                </c:pt>
                <c:pt idx="79">
                  <c:v>4</c:v>
                </c:pt>
                <c:pt idx="80">
                  <c:v>8</c:v>
                </c:pt>
                <c:pt idx="81">
                  <c:v>8</c:v>
                </c:pt>
                <c:pt idx="82">
                  <c:v>8</c:v>
                </c:pt>
                <c:pt idx="83">
                  <c:v>8</c:v>
                </c:pt>
                <c:pt idx="84">
                  <c:v>41</c:v>
                </c:pt>
                <c:pt idx="85">
                  <c:v>8</c:v>
                </c:pt>
                <c:pt idx="86">
                  <c:v>36</c:v>
                </c:pt>
                <c:pt idx="87">
                  <c:v>18</c:v>
                </c:pt>
                <c:pt idx="88">
                  <c:v>16</c:v>
                </c:pt>
                <c:pt idx="89">
                  <c:v>10</c:v>
                </c:pt>
                <c:pt idx="90">
                  <c:v>27</c:v>
                </c:pt>
                <c:pt idx="91">
                  <c:v>7</c:v>
                </c:pt>
                <c:pt idx="92">
                  <c:v>24</c:v>
                </c:pt>
                <c:pt idx="93">
                  <c:v>99</c:v>
                </c:pt>
                <c:pt idx="94">
                  <c:v>250</c:v>
                </c:pt>
                <c:pt idx="95">
                  <c:v>813</c:v>
                </c:pt>
                <c:pt idx="96">
                  <c:v>3882</c:v>
                </c:pt>
                <c:pt idx="97">
                  <c:v>64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E$2:$E$99</c:f>
              <c:numCache>
                <c:formatCode>General</c:formatCode>
                <c:ptCount val="98"/>
                <c:pt idx="0">
                  <c:v>3323</c:v>
                </c:pt>
                <c:pt idx="1">
                  <c:v>4737</c:v>
                </c:pt>
                <c:pt idx="2">
                  <c:v>5671</c:v>
                </c:pt>
                <c:pt idx="3">
                  <c:v>6122</c:v>
                </c:pt>
                <c:pt idx="4">
                  <c:v>6625</c:v>
                </c:pt>
                <c:pt idx="5">
                  <c:v>7943</c:v>
                </c:pt>
                <c:pt idx="6">
                  <c:v>9000</c:v>
                </c:pt>
                <c:pt idx="7">
                  <c:v>9601</c:v>
                </c:pt>
                <c:pt idx="8">
                  <c:v>9729</c:v>
                </c:pt>
                <c:pt idx="9">
                  <c:v>9805</c:v>
                </c:pt>
                <c:pt idx="10">
                  <c:v>9946</c:v>
                </c:pt>
                <c:pt idx="11">
                  <c:v>10399</c:v>
                </c:pt>
                <c:pt idx="12">
                  <c:v>10715</c:v>
                </c:pt>
                <c:pt idx="13">
                  <c:v>10627</c:v>
                </c:pt>
                <c:pt idx="14">
                  <c:v>10884</c:v>
                </c:pt>
                <c:pt idx="15">
                  <c:v>11095</c:v>
                </c:pt>
                <c:pt idx="16">
                  <c:v>11331</c:v>
                </c:pt>
                <c:pt idx="17">
                  <c:v>11528</c:v>
                </c:pt>
                <c:pt idx="18">
                  <c:v>11262</c:v>
                </c:pt>
                <c:pt idx="19">
                  <c:v>11066</c:v>
                </c:pt>
                <c:pt idx="20">
                  <c:v>11331</c:v>
                </c:pt>
                <c:pt idx="21">
                  <c:v>11367</c:v>
                </c:pt>
                <c:pt idx="22">
                  <c:v>11251</c:v>
                </c:pt>
                <c:pt idx="23">
                  <c:v>11334</c:v>
                </c:pt>
                <c:pt idx="24">
                  <c:v>11266</c:v>
                </c:pt>
                <c:pt idx="25">
                  <c:v>11297</c:v>
                </c:pt>
                <c:pt idx="26">
                  <c:v>11331</c:v>
                </c:pt>
                <c:pt idx="27">
                  <c:v>11328</c:v>
                </c:pt>
                <c:pt idx="28">
                  <c:v>11181</c:v>
                </c:pt>
                <c:pt idx="29">
                  <c:v>11056</c:v>
                </c:pt>
                <c:pt idx="30">
                  <c:v>11069</c:v>
                </c:pt>
                <c:pt idx="31">
                  <c:v>10853</c:v>
                </c:pt>
                <c:pt idx="32">
                  <c:v>10687</c:v>
                </c:pt>
                <c:pt idx="33">
                  <c:v>10308</c:v>
                </c:pt>
                <c:pt idx="34">
                  <c:v>10136</c:v>
                </c:pt>
                <c:pt idx="35">
                  <c:v>9897</c:v>
                </c:pt>
                <c:pt idx="36">
                  <c:v>9624</c:v>
                </c:pt>
                <c:pt idx="37">
                  <c:v>9415</c:v>
                </c:pt>
                <c:pt idx="38">
                  <c:v>9185</c:v>
                </c:pt>
                <c:pt idx="39">
                  <c:v>9004</c:v>
                </c:pt>
                <c:pt idx="40">
                  <c:v>14157</c:v>
                </c:pt>
                <c:pt idx="41">
                  <c:v>18146</c:v>
                </c:pt>
                <c:pt idx="42">
                  <c:v>19560</c:v>
                </c:pt>
                <c:pt idx="43">
                  <c:v>20781</c:v>
                </c:pt>
                <c:pt idx="44">
                  <c:v>24029</c:v>
                </c:pt>
                <c:pt idx="45">
                  <c:v>27235</c:v>
                </c:pt>
                <c:pt idx="46">
                  <c:v>36687</c:v>
                </c:pt>
                <c:pt idx="47">
                  <c:v>36030</c:v>
                </c:pt>
                <c:pt idx="48">
                  <c:v>40451</c:v>
                </c:pt>
                <c:pt idx="49">
                  <c:v>40418</c:v>
                </c:pt>
                <c:pt idx="50">
                  <c:v>40891</c:v>
                </c:pt>
                <c:pt idx="51">
                  <c:v>39496</c:v>
                </c:pt>
                <c:pt idx="52">
                  <c:v>37302</c:v>
                </c:pt>
                <c:pt idx="53">
                  <c:v>16352</c:v>
                </c:pt>
                <c:pt idx="54">
                  <c:v>6076</c:v>
                </c:pt>
                <c:pt idx="55">
                  <c:v>3481</c:v>
                </c:pt>
                <c:pt idx="56">
                  <c:v>1037</c:v>
                </c:pt>
                <c:pt idx="57">
                  <c:v>1587</c:v>
                </c:pt>
                <c:pt idx="58">
                  <c:v>642</c:v>
                </c:pt>
                <c:pt idx="59">
                  <c:v>658</c:v>
                </c:pt>
                <c:pt idx="60">
                  <c:v>323</c:v>
                </c:pt>
                <c:pt idx="61">
                  <c:v>299</c:v>
                </c:pt>
                <c:pt idx="62">
                  <c:v>155</c:v>
                </c:pt>
                <c:pt idx="63">
                  <c:v>361</c:v>
                </c:pt>
                <c:pt idx="64">
                  <c:v>110</c:v>
                </c:pt>
                <c:pt idx="65">
                  <c:v>68</c:v>
                </c:pt>
                <c:pt idx="66">
                  <c:v>73</c:v>
                </c:pt>
                <c:pt idx="67">
                  <c:v>90</c:v>
                </c:pt>
                <c:pt idx="68">
                  <c:v>21</c:v>
                </c:pt>
                <c:pt idx="69">
                  <c:v>51</c:v>
                </c:pt>
                <c:pt idx="70">
                  <c:v>125</c:v>
                </c:pt>
                <c:pt idx="71">
                  <c:v>77</c:v>
                </c:pt>
                <c:pt idx="72">
                  <c:v>37</c:v>
                </c:pt>
                <c:pt idx="73">
                  <c:v>27</c:v>
                </c:pt>
                <c:pt idx="74">
                  <c:v>25</c:v>
                </c:pt>
                <c:pt idx="75">
                  <c:v>15</c:v>
                </c:pt>
                <c:pt idx="76">
                  <c:v>4</c:v>
                </c:pt>
                <c:pt idx="77">
                  <c:v>4</c:v>
                </c:pt>
                <c:pt idx="78">
                  <c:v>6</c:v>
                </c:pt>
                <c:pt idx="79">
                  <c:v>6</c:v>
                </c:pt>
                <c:pt idx="80">
                  <c:v>26</c:v>
                </c:pt>
                <c:pt idx="81">
                  <c:v>8</c:v>
                </c:pt>
                <c:pt idx="82">
                  <c:v>8</c:v>
                </c:pt>
                <c:pt idx="83">
                  <c:v>8</c:v>
                </c:pt>
                <c:pt idx="84">
                  <c:v>45</c:v>
                </c:pt>
                <c:pt idx="85">
                  <c:v>8</c:v>
                </c:pt>
                <c:pt idx="86">
                  <c:v>36</c:v>
                </c:pt>
                <c:pt idx="87">
                  <c:v>26</c:v>
                </c:pt>
                <c:pt idx="88">
                  <c:v>46</c:v>
                </c:pt>
                <c:pt idx="89">
                  <c:v>18</c:v>
                </c:pt>
                <c:pt idx="90">
                  <c:v>88</c:v>
                </c:pt>
                <c:pt idx="91">
                  <c:v>15</c:v>
                </c:pt>
                <c:pt idx="92">
                  <c:v>184</c:v>
                </c:pt>
                <c:pt idx="93">
                  <c:v>736</c:v>
                </c:pt>
                <c:pt idx="94">
                  <c:v>1719</c:v>
                </c:pt>
                <c:pt idx="95">
                  <c:v>2826</c:v>
                </c:pt>
                <c:pt idx="96">
                  <c:v>3940</c:v>
                </c:pt>
                <c:pt idx="97">
                  <c:v>523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F$2:$F$99</c:f>
              <c:numCache>
                <c:formatCode>General</c:formatCode>
                <c:ptCount val="98"/>
                <c:pt idx="0">
                  <c:v>0.36</c:v>
                </c:pt>
                <c:pt idx="1">
                  <c:v>7.0000000000000007E-2</c:v>
                </c:pt>
                <c:pt idx="2">
                  <c:v>0.06</c:v>
                </c:pt>
                <c:pt idx="3">
                  <c:v>0.03</c:v>
                </c:pt>
                <c:pt idx="4">
                  <c:v>0.01</c:v>
                </c:pt>
                <c:pt idx="5">
                  <c:v>0.06</c:v>
                </c:pt>
                <c:pt idx="6">
                  <c:v>0.06</c:v>
                </c:pt>
                <c:pt idx="7">
                  <c:v>0.06</c:v>
                </c:pt>
                <c:pt idx="8">
                  <c:v>0.02</c:v>
                </c:pt>
                <c:pt idx="9">
                  <c:v>0.05</c:v>
                </c:pt>
                <c:pt idx="10">
                  <c:v>0.05</c:v>
                </c:pt>
                <c:pt idx="11">
                  <c:v>7.0000000000000007E-2</c:v>
                </c:pt>
                <c:pt idx="12">
                  <c:v>0.08</c:v>
                </c:pt>
                <c:pt idx="13">
                  <c:v>7.0000000000000007E-2</c:v>
                </c:pt>
                <c:pt idx="14">
                  <c:v>0.03</c:v>
                </c:pt>
                <c:pt idx="15">
                  <c:v>0.06</c:v>
                </c:pt>
                <c:pt idx="16">
                  <c:v>0.06</c:v>
                </c:pt>
                <c:pt idx="17">
                  <c:v>0.05</c:v>
                </c:pt>
                <c:pt idx="18">
                  <c:v>0.06</c:v>
                </c:pt>
                <c:pt idx="19">
                  <c:v>0.05</c:v>
                </c:pt>
                <c:pt idx="20">
                  <c:v>0.05</c:v>
                </c:pt>
                <c:pt idx="21">
                  <c:v>0.05</c:v>
                </c:pt>
                <c:pt idx="22">
                  <c:v>7.0000000000000007E-2</c:v>
                </c:pt>
                <c:pt idx="23">
                  <c:v>0.08</c:v>
                </c:pt>
                <c:pt idx="24">
                  <c:v>0.06</c:v>
                </c:pt>
                <c:pt idx="25">
                  <c:v>0.05</c:v>
                </c:pt>
                <c:pt idx="26">
                  <c:v>7.0000000000000007E-2</c:v>
                </c:pt>
                <c:pt idx="27">
                  <c:v>0.06</c:v>
                </c:pt>
                <c:pt idx="28">
                  <c:v>0.05</c:v>
                </c:pt>
                <c:pt idx="29">
                  <c:v>0.06</c:v>
                </c:pt>
                <c:pt idx="30">
                  <c:v>0.05</c:v>
                </c:pt>
                <c:pt idx="31">
                  <c:v>0.04</c:v>
                </c:pt>
                <c:pt idx="32">
                  <c:v>0.04</c:v>
                </c:pt>
                <c:pt idx="33">
                  <c:v>0.04</c:v>
                </c:pt>
                <c:pt idx="34">
                  <c:v>0.03</c:v>
                </c:pt>
                <c:pt idx="35">
                  <c:v>0.06</c:v>
                </c:pt>
                <c:pt idx="36">
                  <c:v>0.06</c:v>
                </c:pt>
                <c:pt idx="37">
                  <c:v>0.08</c:v>
                </c:pt>
                <c:pt idx="38">
                  <c:v>0.05</c:v>
                </c:pt>
                <c:pt idx="39">
                  <c:v>7.0000000000000007E-2</c:v>
                </c:pt>
                <c:pt idx="40">
                  <c:v>0.45</c:v>
                </c:pt>
                <c:pt idx="41">
                  <c:v>0.59</c:v>
                </c:pt>
                <c:pt idx="42">
                  <c:v>0.63</c:v>
                </c:pt>
                <c:pt idx="43">
                  <c:v>0.66</c:v>
                </c:pt>
                <c:pt idx="44">
                  <c:v>0.71</c:v>
                </c:pt>
                <c:pt idx="45">
                  <c:v>0.76</c:v>
                </c:pt>
                <c:pt idx="46">
                  <c:v>0.88</c:v>
                </c:pt>
                <c:pt idx="47">
                  <c:v>0.86</c:v>
                </c:pt>
                <c:pt idx="48">
                  <c:v>0.92</c:v>
                </c:pt>
                <c:pt idx="49">
                  <c:v>0.96</c:v>
                </c:pt>
                <c:pt idx="50">
                  <c:v>0.99</c:v>
                </c:pt>
                <c:pt idx="51">
                  <c:v>1</c:v>
                </c:pt>
                <c:pt idx="52">
                  <c:v>0.99</c:v>
                </c:pt>
                <c:pt idx="53">
                  <c:v>0.98</c:v>
                </c:pt>
                <c:pt idx="54">
                  <c:v>0.95</c:v>
                </c:pt>
                <c:pt idx="55">
                  <c:v>0.99</c:v>
                </c:pt>
                <c:pt idx="56">
                  <c:v>0.95</c:v>
                </c:pt>
                <c:pt idx="57">
                  <c:v>0.98</c:v>
                </c:pt>
                <c:pt idx="58">
                  <c:v>0.94</c:v>
                </c:pt>
                <c:pt idx="59">
                  <c:v>0.82</c:v>
                </c:pt>
                <c:pt idx="60">
                  <c:v>0.8</c:v>
                </c:pt>
                <c:pt idx="61">
                  <c:v>0.82</c:v>
                </c:pt>
                <c:pt idx="62">
                  <c:v>0.67</c:v>
                </c:pt>
                <c:pt idx="63">
                  <c:v>0.95</c:v>
                </c:pt>
                <c:pt idx="64">
                  <c:v>0.7</c:v>
                </c:pt>
                <c:pt idx="65">
                  <c:v>1</c:v>
                </c:pt>
                <c:pt idx="66">
                  <c:v>1</c:v>
                </c:pt>
                <c:pt idx="67">
                  <c:v>0.8</c:v>
                </c:pt>
                <c:pt idx="68">
                  <c:v>1</c:v>
                </c:pt>
                <c:pt idx="69">
                  <c:v>0.5</c:v>
                </c:pt>
                <c:pt idx="70">
                  <c:v>0.79</c:v>
                </c:pt>
                <c:pt idx="71">
                  <c:v>0.71</c:v>
                </c:pt>
                <c:pt idx="72">
                  <c:v>0.67</c:v>
                </c:pt>
                <c:pt idx="73">
                  <c:v>0</c:v>
                </c:pt>
                <c:pt idx="74">
                  <c:v>0</c:v>
                </c:pt>
                <c:pt idx="75">
                  <c:v>1</c:v>
                </c:pt>
                <c:pt idx="76">
                  <c:v>1</c:v>
                </c:pt>
                <c:pt idx="77">
                  <c:v>1</c:v>
                </c:pt>
                <c:pt idx="78">
                  <c:v>1</c:v>
                </c:pt>
                <c:pt idx="79">
                  <c:v>1</c:v>
                </c:pt>
                <c:pt idx="80">
                  <c:v>0.5</c:v>
                </c:pt>
                <c:pt idx="81">
                  <c:v>1</c:v>
                </c:pt>
                <c:pt idx="82">
                  <c:v>1</c:v>
                </c:pt>
                <c:pt idx="83">
                  <c:v>1</c:v>
                </c:pt>
                <c:pt idx="84">
                  <c:v>0.67</c:v>
                </c:pt>
                <c:pt idx="85">
                  <c:v>1</c:v>
                </c:pt>
                <c:pt idx="86">
                  <c:v>0</c:v>
                </c:pt>
                <c:pt idx="87">
                  <c:v>1</c:v>
                </c:pt>
                <c:pt idx="88">
                  <c:v>0.5</c:v>
                </c:pt>
                <c:pt idx="89">
                  <c:v>1</c:v>
                </c:pt>
                <c:pt idx="90">
                  <c:v>0.67</c:v>
                </c:pt>
                <c:pt idx="91">
                  <c:v>1</c:v>
                </c:pt>
                <c:pt idx="92">
                  <c:v>0.5</c:v>
                </c:pt>
                <c:pt idx="93">
                  <c:v>0</c:v>
                </c:pt>
                <c:pt idx="94">
                  <c:v>0.24</c:v>
                </c:pt>
                <c:pt idx="95">
                  <c:v>0.04</c:v>
                </c:pt>
                <c:pt idx="96">
                  <c:v>0.01</c:v>
                </c:pt>
                <c:pt idx="97">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684</c:v>
                </c:pt>
                <c:pt idx="1">
                  <c:v>12860</c:v>
                </c:pt>
                <c:pt idx="2">
                  <c:v>8507</c:v>
                </c:pt>
                <c:pt idx="3">
                  <c:v>4909</c:v>
                </c:pt>
                <c:pt idx="4">
                  <c:v>2850</c:v>
                </c:pt>
                <c:pt idx="5">
                  <c:v>18860</c:v>
                </c:pt>
                <c:pt idx="6">
                  <c:v>25667</c:v>
                </c:pt>
                <c:pt idx="7">
                  <c:v>29408</c:v>
                </c:pt>
                <c:pt idx="8">
                  <c:v>22129</c:v>
                </c:pt>
                <c:pt idx="9">
                  <c:v>22866</c:v>
                </c:pt>
                <c:pt idx="10">
                  <c:v>25188</c:v>
                </c:pt>
                <c:pt idx="11">
                  <c:v>23703</c:v>
                </c:pt>
                <c:pt idx="12">
                  <c:v>20699</c:v>
                </c:pt>
                <c:pt idx="13">
                  <c:v>21900</c:v>
                </c:pt>
                <c:pt idx="14">
                  <c:v>21580</c:v>
                </c:pt>
                <c:pt idx="15">
                  <c:v>27644</c:v>
                </c:pt>
                <c:pt idx="16">
                  <c:v>16636</c:v>
                </c:pt>
                <c:pt idx="17">
                  <c:v>5147</c:v>
                </c:pt>
                <c:pt idx="18">
                  <c:v>490</c:v>
                </c:pt>
                <c:pt idx="19">
                  <c:v>269</c:v>
                </c:pt>
                <c:pt idx="20">
                  <c:v>687</c:v>
                </c:pt>
                <c:pt idx="21">
                  <c:v>592</c:v>
                </c:pt>
                <c:pt idx="22">
                  <c:v>434</c:v>
                </c:pt>
                <c:pt idx="23">
                  <c:v>596</c:v>
                </c:pt>
                <c:pt idx="24">
                  <c:v>780</c:v>
                </c:pt>
                <c:pt idx="25">
                  <c:v>582</c:v>
                </c:pt>
                <c:pt idx="26">
                  <c:v>511</c:v>
                </c:pt>
                <c:pt idx="27">
                  <c:v>17183</c:v>
                </c:pt>
                <c:pt idx="28">
                  <c:v>35408</c:v>
                </c:pt>
                <c:pt idx="29">
                  <c:v>22363</c:v>
                </c:pt>
                <c:pt idx="30">
                  <c:v>26452</c:v>
                </c:pt>
                <c:pt idx="31">
                  <c:v>29915</c:v>
                </c:pt>
                <c:pt idx="32">
                  <c:v>25549</c:v>
                </c:pt>
                <c:pt idx="33">
                  <c:v>31956</c:v>
                </c:pt>
                <c:pt idx="34">
                  <c:v>38419</c:v>
                </c:pt>
                <c:pt idx="35">
                  <c:v>14298</c:v>
                </c:pt>
                <c:pt idx="36">
                  <c:v>1211</c:v>
                </c:pt>
                <c:pt idx="37">
                  <c:v>437</c:v>
                </c:pt>
                <c:pt idx="38">
                  <c:v>10602</c:v>
                </c:pt>
                <c:pt idx="39">
                  <c:v>20341</c:v>
                </c:pt>
                <c:pt idx="40">
                  <c:v>29178</c:v>
                </c:pt>
                <c:pt idx="41">
                  <c:v>38051</c:v>
                </c:pt>
                <c:pt idx="42">
                  <c:v>30471</c:v>
                </c:pt>
                <c:pt idx="43">
                  <c:v>25339</c:v>
                </c:pt>
                <c:pt idx="44">
                  <c:v>1958</c:v>
                </c:pt>
                <c:pt idx="45">
                  <c:v>161</c:v>
                </c:pt>
                <c:pt idx="46">
                  <c:v>752</c:v>
                </c:pt>
                <c:pt idx="47">
                  <c:v>598</c:v>
                </c:pt>
                <c:pt idx="48">
                  <c:v>902</c:v>
                </c:pt>
                <c:pt idx="49">
                  <c:v>17948</c:v>
                </c:pt>
                <c:pt idx="50">
                  <c:v>20980</c:v>
                </c:pt>
                <c:pt idx="51">
                  <c:v>12217</c:v>
                </c:pt>
                <c:pt idx="52">
                  <c:v>9795</c:v>
                </c:pt>
                <c:pt idx="53">
                  <c:v>27154</c:v>
                </c:pt>
                <c:pt idx="54">
                  <c:v>17207</c:v>
                </c:pt>
                <c:pt idx="55">
                  <c:v>9991</c:v>
                </c:pt>
                <c:pt idx="56">
                  <c:v>39016</c:v>
                </c:pt>
                <c:pt idx="57">
                  <c:v>71252</c:v>
                </c:pt>
                <c:pt idx="58">
                  <c:v>75208</c:v>
                </c:pt>
                <c:pt idx="59">
                  <c:v>109719</c:v>
                </c:pt>
                <c:pt idx="60">
                  <c:v>104355</c:v>
                </c:pt>
                <c:pt idx="61">
                  <c:v>96987</c:v>
                </c:pt>
                <c:pt idx="62">
                  <c:v>73503</c:v>
                </c:pt>
                <c:pt idx="63">
                  <c:v>42734</c:v>
                </c:pt>
                <c:pt idx="64">
                  <c:v>41256</c:v>
                </c:pt>
                <c:pt idx="65">
                  <c:v>42551</c:v>
                </c:pt>
                <c:pt idx="66">
                  <c:v>39194</c:v>
                </c:pt>
                <c:pt idx="67">
                  <c:v>35968</c:v>
                </c:pt>
                <c:pt idx="68">
                  <c:v>32936</c:v>
                </c:pt>
                <c:pt idx="69">
                  <c:v>35267</c:v>
                </c:pt>
                <c:pt idx="70">
                  <c:v>34150</c:v>
                </c:pt>
                <c:pt idx="71">
                  <c:v>30481</c:v>
                </c:pt>
                <c:pt idx="72">
                  <c:v>15534</c:v>
                </c:pt>
                <c:pt idx="73">
                  <c:v>419</c:v>
                </c:pt>
                <c:pt idx="74">
                  <c:v>269</c:v>
                </c:pt>
                <c:pt idx="75">
                  <c:v>403</c:v>
                </c:pt>
                <c:pt idx="76">
                  <c:v>1364</c:v>
                </c:pt>
                <c:pt idx="77">
                  <c:v>324</c:v>
                </c:pt>
                <c:pt idx="78">
                  <c:v>478</c:v>
                </c:pt>
                <c:pt idx="79">
                  <c:v>18970</c:v>
                </c:pt>
                <c:pt idx="80">
                  <c:v>35509</c:v>
                </c:pt>
                <c:pt idx="81">
                  <c:v>35614</c:v>
                </c:pt>
                <c:pt idx="82">
                  <c:v>34523</c:v>
                </c:pt>
                <c:pt idx="83">
                  <c:v>10296</c:v>
                </c:pt>
                <c:pt idx="84">
                  <c:v>8547</c:v>
                </c:pt>
                <c:pt idx="85">
                  <c:v>172</c:v>
                </c:pt>
                <c:pt idx="86">
                  <c:v>5721</c:v>
                </c:pt>
                <c:pt idx="87">
                  <c:v>375</c:v>
                </c:pt>
                <c:pt idx="88">
                  <c:v>396</c:v>
                </c:pt>
                <c:pt idx="89">
                  <c:v>288</c:v>
                </c:pt>
                <c:pt idx="90">
                  <c:v>10001</c:v>
                </c:pt>
                <c:pt idx="91">
                  <c:v>21579</c:v>
                </c:pt>
                <c:pt idx="92">
                  <c:v>34615</c:v>
                </c:pt>
                <c:pt idx="93">
                  <c:v>44086</c:v>
                </c:pt>
                <c:pt idx="94">
                  <c:v>20848</c:v>
                </c:pt>
                <c:pt idx="95">
                  <c:v>260</c:v>
                </c:pt>
                <c:pt idx="96">
                  <c:v>401</c:v>
                </c:pt>
                <c:pt idx="97">
                  <c:v>50325</c:v>
                </c:pt>
                <c:pt idx="98">
                  <c:v>158964</c:v>
                </c:pt>
                <c:pt idx="99">
                  <c:v>153082</c:v>
                </c:pt>
                <c:pt idx="100">
                  <c:v>168880</c:v>
                </c:pt>
                <c:pt idx="101">
                  <c:v>171964</c:v>
                </c:pt>
                <c:pt idx="102">
                  <c:v>187098</c:v>
                </c:pt>
                <c:pt idx="103">
                  <c:v>158434</c:v>
                </c:pt>
                <c:pt idx="104">
                  <c:v>164477</c:v>
                </c:pt>
                <c:pt idx="105">
                  <c:v>150502</c:v>
                </c:pt>
                <c:pt idx="106">
                  <c:v>15008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324</c:v>
                </c:pt>
                <c:pt idx="1">
                  <c:v>206980</c:v>
                </c:pt>
                <c:pt idx="2">
                  <c:v>210870</c:v>
                </c:pt>
                <c:pt idx="3">
                  <c:v>208312</c:v>
                </c:pt>
                <c:pt idx="4">
                  <c:v>217913</c:v>
                </c:pt>
                <c:pt idx="5">
                  <c:v>208398</c:v>
                </c:pt>
                <c:pt idx="6">
                  <c:v>198649</c:v>
                </c:pt>
                <c:pt idx="7">
                  <c:v>212172</c:v>
                </c:pt>
                <c:pt idx="8">
                  <c:v>224857</c:v>
                </c:pt>
                <c:pt idx="9">
                  <c:v>208601</c:v>
                </c:pt>
                <c:pt idx="10">
                  <c:v>207664</c:v>
                </c:pt>
                <c:pt idx="11">
                  <c:v>207118</c:v>
                </c:pt>
                <c:pt idx="12">
                  <c:v>201372</c:v>
                </c:pt>
                <c:pt idx="13">
                  <c:v>221116</c:v>
                </c:pt>
                <c:pt idx="14">
                  <c:v>194912</c:v>
                </c:pt>
                <c:pt idx="15">
                  <c:v>200841</c:v>
                </c:pt>
                <c:pt idx="16">
                  <c:v>201935</c:v>
                </c:pt>
                <c:pt idx="17">
                  <c:v>225201</c:v>
                </c:pt>
                <c:pt idx="18">
                  <c:v>214142</c:v>
                </c:pt>
                <c:pt idx="19">
                  <c:v>210202</c:v>
                </c:pt>
                <c:pt idx="20">
                  <c:v>228052</c:v>
                </c:pt>
                <c:pt idx="21">
                  <c:v>236326</c:v>
                </c:pt>
                <c:pt idx="22">
                  <c:v>235924</c:v>
                </c:pt>
                <c:pt idx="23">
                  <c:v>227681</c:v>
                </c:pt>
                <c:pt idx="24">
                  <c:v>223439</c:v>
                </c:pt>
                <c:pt idx="25">
                  <c:v>229582</c:v>
                </c:pt>
                <c:pt idx="26">
                  <c:v>237065</c:v>
                </c:pt>
                <c:pt idx="27">
                  <c:v>216983</c:v>
                </c:pt>
                <c:pt idx="28">
                  <c:v>215634</c:v>
                </c:pt>
                <c:pt idx="29">
                  <c:v>216584</c:v>
                </c:pt>
                <c:pt idx="30">
                  <c:v>228684</c:v>
                </c:pt>
                <c:pt idx="31">
                  <c:v>209965</c:v>
                </c:pt>
                <c:pt idx="32">
                  <c:v>215659</c:v>
                </c:pt>
                <c:pt idx="33">
                  <c:v>200475</c:v>
                </c:pt>
                <c:pt idx="34">
                  <c:v>199279</c:v>
                </c:pt>
                <c:pt idx="35">
                  <c:v>213055</c:v>
                </c:pt>
                <c:pt idx="36">
                  <c:v>216248</c:v>
                </c:pt>
                <c:pt idx="37">
                  <c:v>211644</c:v>
                </c:pt>
                <c:pt idx="38">
                  <c:v>206041</c:v>
                </c:pt>
                <c:pt idx="39">
                  <c:v>207307</c:v>
                </c:pt>
                <c:pt idx="40">
                  <c:v>181139</c:v>
                </c:pt>
                <c:pt idx="41">
                  <c:v>175749</c:v>
                </c:pt>
                <c:pt idx="42">
                  <c:v>179873</c:v>
                </c:pt>
                <c:pt idx="43">
                  <c:v>190074</c:v>
                </c:pt>
                <c:pt idx="44">
                  <c:v>207367</c:v>
                </c:pt>
                <c:pt idx="45">
                  <c:v>207046</c:v>
                </c:pt>
                <c:pt idx="46">
                  <c:v>192466</c:v>
                </c:pt>
                <c:pt idx="47">
                  <c:v>200396</c:v>
                </c:pt>
                <c:pt idx="48">
                  <c:v>211523</c:v>
                </c:pt>
                <c:pt idx="49">
                  <c:v>201875</c:v>
                </c:pt>
                <c:pt idx="50">
                  <c:v>210035</c:v>
                </c:pt>
                <c:pt idx="51">
                  <c:v>145809</c:v>
                </c:pt>
                <c:pt idx="52">
                  <c:v>164266</c:v>
                </c:pt>
                <c:pt idx="53">
                  <c:v>152439</c:v>
                </c:pt>
                <c:pt idx="54">
                  <c:v>165187</c:v>
                </c:pt>
                <c:pt idx="55">
                  <c:v>181576</c:v>
                </c:pt>
                <c:pt idx="56">
                  <c:v>159485</c:v>
                </c:pt>
                <c:pt idx="57">
                  <c:v>128490</c:v>
                </c:pt>
                <c:pt idx="58">
                  <c:v>111646</c:v>
                </c:pt>
                <c:pt idx="59">
                  <c:v>104764</c:v>
                </c:pt>
                <c:pt idx="60">
                  <c:v>101216</c:v>
                </c:pt>
                <c:pt idx="61">
                  <c:v>102847</c:v>
                </c:pt>
                <c:pt idx="62">
                  <c:v>116494</c:v>
                </c:pt>
                <c:pt idx="63">
                  <c:v>141978</c:v>
                </c:pt>
                <c:pt idx="64">
                  <c:v>141522</c:v>
                </c:pt>
                <c:pt idx="65">
                  <c:v>143706</c:v>
                </c:pt>
                <c:pt idx="66">
                  <c:v>140213</c:v>
                </c:pt>
                <c:pt idx="67">
                  <c:v>136391</c:v>
                </c:pt>
                <c:pt idx="68">
                  <c:v>137362</c:v>
                </c:pt>
                <c:pt idx="69">
                  <c:v>143832</c:v>
                </c:pt>
                <c:pt idx="70">
                  <c:v>141620</c:v>
                </c:pt>
                <c:pt idx="71">
                  <c:v>136668</c:v>
                </c:pt>
                <c:pt idx="72">
                  <c:v>161515</c:v>
                </c:pt>
                <c:pt idx="73">
                  <c:v>170330</c:v>
                </c:pt>
                <c:pt idx="74">
                  <c:v>180887</c:v>
                </c:pt>
                <c:pt idx="75">
                  <c:v>172424</c:v>
                </c:pt>
                <c:pt idx="76">
                  <c:v>168385</c:v>
                </c:pt>
                <c:pt idx="77">
                  <c:v>169170</c:v>
                </c:pt>
                <c:pt idx="78">
                  <c:v>186720</c:v>
                </c:pt>
                <c:pt idx="79">
                  <c:v>153894</c:v>
                </c:pt>
                <c:pt idx="80">
                  <c:v>145098</c:v>
                </c:pt>
                <c:pt idx="81">
                  <c:v>138655</c:v>
                </c:pt>
                <c:pt idx="82">
                  <c:v>147708</c:v>
                </c:pt>
                <c:pt idx="83">
                  <c:v>166654</c:v>
                </c:pt>
                <c:pt idx="84">
                  <c:v>164718</c:v>
                </c:pt>
                <c:pt idx="85">
                  <c:v>170853</c:v>
                </c:pt>
                <c:pt idx="86">
                  <c:v>163985</c:v>
                </c:pt>
                <c:pt idx="87">
                  <c:v>173548</c:v>
                </c:pt>
                <c:pt idx="88">
                  <c:v>161729</c:v>
                </c:pt>
                <c:pt idx="89">
                  <c:v>163259</c:v>
                </c:pt>
                <c:pt idx="90">
                  <c:v>152044</c:v>
                </c:pt>
                <c:pt idx="91">
                  <c:v>168393</c:v>
                </c:pt>
                <c:pt idx="92">
                  <c:v>138092</c:v>
                </c:pt>
                <c:pt idx="93">
                  <c:v>131591</c:v>
                </c:pt>
                <c:pt idx="94">
                  <c:v>146217</c:v>
                </c:pt>
                <c:pt idx="95">
                  <c:v>163238</c:v>
                </c:pt>
                <c:pt idx="96">
                  <c:v>173658</c:v>
                </c:pt>
                <c:pt idx="97">
                  <c:v>118275</c:v>
                </c:pt>
                <c:pt idx="98">
                  <c:v>3789</c:v>
                </c:pt>
                <c:pt idx="99">
                  <c:v>2660</c:v>
                </c:pt>
                <c:pt idx="100">
                  <c:v>3275</c:v>
                </c:pt>
                <c:pt idx="101">
                  <c:v>2026</c:v>
                </c:pt>
                <c:pt idx="102">
                  <c:v>1351</c:v>
                </c:pt>
                <c:pt idx="103">
                  <c:v>1427</c:v>
                </c:pt>
                <c:pt idx="104">
                  <c:v>2291</c:v>
                </c:pt>
                <c:pt idx="105">
                  <c:v>4092</c:v>
                </c:pt>
                <c:pt idx="106">
                  <c:v>8143</c:v>
                </c:pt>
                <c:pt idx="107">
                  <c:v>1133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7008</c:v>
                </c:pt>
                <c:pt idx="1">
                  <c:v>219840</c:v>
                </c:pt>
                <c:pt idx="2">
                  <c:v>219377</c:v>
                </c:pt>
                <c:pt idx="3">
                  <c:v>213221</c:v>
                </c:pt>
                <c:pt idx="4">
                  <c:v>220763</c:v>
                </c:pt>
                <c:pt idx="5">
                  <c:v>227258</c:v>
                </c:pt>
                <c:pt idx="6">
                  <c:v>224316</c:v>
                </c:pt>
                <c:pt idx="7">
                  <c:v>241580</c:v>
                </c:pt>
                <c:pt idx="8">
                  <c:v>246986</c:v>
                </c:pt>
                <c:pt idx="9">
                  <c:v>231467</c:v>
                </c:pt>
                <c:pt idx="10">
                  <c:v>232852</c:v>
                </c:pt>
                <c:pt idx="11">
                  <c:v>230821</c:v>
                </c:pt>
                <c:pt idx="12">
                  <c:v>222071</c:v>
                </c:pt>
                <c:pt idx="13">
                  <c:v>243016</c:v>
                </c:pt>
                <c:pt idx="14">
                  <c:v>216492</c:v>
                </c:pt>
                <c:pt idx="15">
                  <c:v>228485</c:v>
                </c:pt>
                <c:pt idx="16">
                  <c:v>218571</c:v>
                </c:pt>
                <c:pt idx="17">
                  <c:v>230348</c:v>
                </c:pt>
                <c:pt idx="18">
                  <c:v>214632</c:v>
                </c:pt>
                <c:pt idx="19">
                  <c:v>210471</c:v>
                </c:pt>
                <c:pt idx="20">
                  <c:v>228739</c:v>
                </c:pt>
                <c:pt idx="21">
                  <c:v>236918</c:v>
                </c:pt>
                <c:pt idx="22">
                  <c:v>236358</c:v>
                </c:pt>
                <c:pt idx="23">
                  <c:v>228277</c:v>
                </c:pt>
                <c:pt idx="24">
                  <c:v>224219</c:v>
                </c:pt>
                <c:pt idx="25">
                  <c:v>230164</c:v>
                </c:pt>
                <c:pt idx="26">
                  <c:v>237576</c:v>
                </c:pt>
                <c:pt idx="27">
                  <c:v>234166</c:v>
                </c:pt>
                <c:pt idx="28">
                  <c:v>251042</c:v>
                </c:pt>
                <c:pt idx="29">
                  <c:v>238947</c:v>
                </c:pt>
                <c:pt idx="30">
                  <c:v>255136</c:v>
                </c:pt>
                <c:pt idx="31">
                  <c:v>239880</c:v>
                </c:pt>
                <c:pt idx="32">
                  <c:v>241208</c:v>
                </c:pt>
                <c:pt idx="33">
                  <c:v>232431</c:v>
                </c:pt>
                <c:pt idx="34">
                  <c:v>237698</c:v>
                </c:pt>
                <c:pt idx="35">
                  <c:v>227353</c:v>
                </c:pt>
                <c:pt idx="36">
                  <c:v>217459</c:v>
                </c:pt>
                <c:pt idx="37">
                  <c:v>212081</c:v>
                </c:pt>
                <c:pt idx="38">
                  <c:v>216643</c:v>
                </c:pt>
                <c:pt idx="39">
                  <c:v>227648</c:v>
                </c:pt>
                <c:pt idx="40">
                  <c:v>210317</c:v>
                </c:pt>
                <c:pt idx="41">
                  <c:v>213800</c:v>
                </c:pt>
                <c:pt idx="42">
                  <c:v>210344</c:v>
                </c:pt>
                <c:pt idx="43">
                  <c:v>215413</c:v>
                </c:pt>
                <c:pt idx="44">
                  <c:v>209325</c:v>
                </c:pt>
                <c:pt idx="45">
                  <c:v>207207</c:v>
                </c:pt>
                <c:pt idx="46">
                  <c:v>193218</c:v>
                </c:pt>
                <c:pt idx="47">
                  <c:v>200994</c:v>
                </c:pt>
                <c:pt idx="48">
                  <c:v>212425</c:v>
                </c:pt>
                <c:pt idx="49">
                  <c:v>219823</c:v>
                </c:pt>
                <c:pt idx="50">
                  <c:v>231015</c:v>
                </c:pt>
                <c:pt idx="51">
                  <c:v>158026</c:v>
                </c:pt>
                <c:pt idx="52">
                  <c:v>174061</c:v>
                </c:pt>
                <c:pt idx="53">
                  <c:v>179593</c:v>
                </c:pt>
                <c:pt idx="54">
                  <c:v>182394</c:v>
                </c:pt>
                <c:pt idx="55">
                  <c:v>191567</c:v>
                </c:pt>
                <c:pt idx="56">
                  <c:v>198501</c:v>
                </c:pt>
                <c:pt idx="57">
                  <c:v>199742</c:v>
                </c:pt>
                <c:pt idx="58">
                  <c:v>186854</c:v>
                </c:pt>
                <c:pt idx="59">
                  <c:v>214483</c:v>
                </c:pt>
                <c:pt idx="60">
                  <c:v>205571</c:v>
                </c:pt>
                <c:pt idx="61">
                  <c:v>199834</c:v>
                </c:pt>
                <c:pt idx="62">
                  <c:v>189997</c:v>
                </c:pt>
                <c:pt idx="63">
                  <c:v>184712</c:v>
                </c:pt>
                <c:pt idx="64">
                  <c:v>182778</c:v>
                </c:pt>
                <c:pt idx="65">
                  <c:v>186257</c:v>
                </c:pt>
                <c:pt idx="66">
                  <c:v>179407</c:v>
                </c:pt>
                <c:pt idx="67">
                  <c:v>172359</c:v>
                </c:pt>
                <c:pt idx="68">
                  <c:v>170298</c:v>
                </c:pt>
                <c:pt idx="69">
                  <c:v>179099</c:v>
                </c:pt>
                <c:pt idx="70">
                  <c:v>175770</c:v>
                </c:pt>
                <c:pt idx="71">
                  <c:v>167149</c:v>
                </c:pt>
                <c:pt idx="72">
                  <c:v>177049</c:v>
                </c:pt>
                <c:pt idx="73">
                  <c:v>170749</c:v>
                </c:pt>
                <c:pt idx="74">
                  <c:v>181156</c:v>
                </c:pt>
                <c:pt idx="75">
                  <c:v>172827</c:v>
                </c:pt>
                <c:pt idx="76">
                  <c:v>169749</c:v>
                </c:pt>
                <c:pt idx="77">
                  <c:v>169494</c:v>
                </c:pt>
                <c:pt idx="78">
                  <c:v>187198</c:v>
                </c:pt>
                <c:pt idx="79">
                  <c:v>172864</c:v>
                </c:pt>
                <c:pt idx="80">
                  <c:v>180607</c:v>
                </c:pt>
                <c:pt idx="81">
                  <c:v>174269</c:v>
                </c:pt>
                <c:pt idx="82">
                  <c:v>182231</c:v>
                </c:pt>
                <c:pt idx="83">
                  <c:v>176950</c:v>
                </c:pt>
                <c:pt idx="84">
                  <c:v>173265</c:v>
                </c:pt>
                <c:pt idx="85">
                  <c:v>171025</c:v>
                </c:pt>
                <c:pt idx="86">
                  <c:v>169706</c:v>
                </c:pt>
                <c:pt idx="87">
                  <c:v>173923</c:v>
                </c:pt>
                <c:pt idx="88">
                  <c:v>162125</c:v>
                </c:pt>
                <c:pt idx="89">
                  <c:v>163547</c:v>
                </c:pt>
                <c:pt idx="90">
                  <c:v>162045</c:v>
                </c:pt>
                <c:pt idx="91">
                  <c:v>189972</c:v>
                </c:pt>
                <c:pt idx="92">
                  <c:v>172707</c:v>
                </c:pt>
                <c:pt idx="93">
                  <c:v>175677</c:v>
                </c:pt>
                <c:pt idx="94">
                  <c:v>167065</c:v>
                </c:pt>
                <c:pt idx="95">
                  <c:v>163498</c:v>
                </c:pt>
                <c:pt idx="96">
                  <c:v>174059</c:v>
                </c:pt>
                <c:pt idx="97">
                  <c:v>168600</c:v>
                </c:pt>
                <c:pt idx="98">
                  <c:v>162753</c:v>
                </c:pt>
                <c:pt idx="99">
                  <c:v>155742</c:v>
                </c:pt>
                <c:pt idx="100">
                  <c:v>172155</c:v>
                </c:pt>
                <c:pt idx="101">
                  <c:v>173990</c:v>
                </c:pt>
                <c:pt idx="102">
                  <c:v>188449</c:v>
                </c:pt>
                <c:pt idx="103">
                  <c:v>159861</c:v>
                </c:pt>
                <c:pt idx="104">
                  <c:v>166768</c:v>
                </c:pt>
                <c:pt idx="105">
                  <c:v>154594</c:v>
                </c:pt>
                <c:pt idx="106">
                  <c:v>158225</c:v>
                </c:pt>
                <c:pt idx="107">
                  <c:v>14641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9801</c:v>
                </c:pt>
                <c:pt idx="1">
                  <c:v>211903</c:v>
                </c:pt>
                <c:pt idx="2">
                  <c:v>214538</c:v>
                </c:pt>
                <c:pt idx="3">
                  <c:v>215100</c:v>
                </c:pt>
                <c:pt idx="4">
                  <c:v>216470</c:v>
                </c:pt>
                <c:pt idx="5">
                  <c:v>219762</c:v>
                </c:pt>
                <c:pt idx="6">
                  <c:v>225752</c:v>
                </c:pt>
                <c:pt idx="7">
                  <c:v>235517</c:v>
                </c:pt>
                <c:pt idx="8">
                  <c:v>236890</c:v>
                </c:pt>
                <c:pt idx="9">
                  <c:v>235671</c:v>
                </c:pt>
                <c:pt idx="10">
                  <c:v>234028</c:v>
                </c:pt>
                <c:pt idx="11">
                  <c:v>232527</c:v>
                </c:pt>
                <c:pt idx="12">
                  <c:v>230997</c:v>
                </c:pt>
                <c:pt idx="13">
                  <c:v>228527</c:v>
                </c:pt>
                <c:pt idx="14">
                  <c:v>227728</c:v>
                </c:pt>
                <c:pt idx="15">
                  <c:v>225354</c:v>
                </c:pt>
                <c:pt idx="16">
                  <c:v>222719</c:v>
                </c:pt>
                <c:pt idx="17">
                  <c:v>223808</c:v>
                </c:pt>
                <c:pt idx="18">
                  <c:v>223067</c:v>
                </c:pt>
                <c:pt idx="19">
                  <c:v>225609</c:v>
                </c:pt>
                <c:pt idx="20">
                  <c:v>225935</c:v>
                </c:pt>
                <c:pt idx="21">
                  <c:v>226622</c:v>
                </c:pt>
                <c:pt idx="22">
                  <c:v>226674</c:v>
                </c:pt>
                <c:pt idx="23">
                  <c:v>229496</c:v>
                </c:pt>
                <c:pt idx="24">
                  <c:v>232202</c:v>
                </c:pt>
                <c:pt idx="25">
                  <c:v>234703</c:v>
                </c:pt>
                <c:pt idx="26">
                  <c:v>234719</c:v>
                </c:pt>
                <c:pt idx="27">
                  <c:v>236776</c:v>
                </c:pt>
                <c:pt idx="28">
                  <c:v>238214</c:v>
                </c:pt>
                <c:pt idx="29">
                  <c:v>239822</c:v>
                </c:pt>
                <c:pt idx="30">
                  <c:v>240645</c:v>
                </c:pt>
                <c:pt idx="31">
                  <c:v>239913</c:v>
                </c:pt>
                <c:pt idx="32">
                  <c:v>239674</c:v>
                </c:pt>
                <c:pt idx="33">
                  <c:v>234792</c:v>
                </c:pt>
                <c:pt idx="34">
                  <c:v>231689</c:v>
                </c:pt>
                <c:pt idx="35">
                  <c:v>227340</c:v>
                </c:pt>
                <c:pt idx="36">
                  <c:v>226011</c:v>
                </c:pt>
                <c:pt idx="37">
                  <c:v>222262</c:v>
                </c:pt>
                <c:pt idx="38">
                  <c:v>220006</c:v>
                </c:pt>
                <c:pt idx="39">
                  <c:v>217082</c:v>
                </c:pt>
                <c:pt idx="40">
                  <c:v>215375</c:v>
                </c:pt>
                <c:pt idx="41">
                  <c:v>214119</c:v>
                </c:pt>
                <c:pt idx="42">
                  <c:v>212967</c:v>
                </c:pt>
                <c:pt idx="43">
                  <c:v>210468</c:v>
                </c:pt>
                <c:pt idx="44">
                  <c:v>207626</c:v>
                </c:pt>
                <c:pt idx="45">
                  <c:v>207873</c:v>
                </c:pt>
                <c:pt idx="46">
                  <c:v>209570</c:v>
                </c:pt>
                <c:pt idx="47">
                  <c:v>213257</c:v>
                </c:pt>
                <c:pt idx="48">
                  <c:v>207194</c:v>
                </c:pt>
                <c:pt idx="49">
                  <c:v>201116</c:v>
                </c:pt>
                <c:pt idx="50">
                  <c:v>195364</c:v>
                </c:pt>
                <c:pt idx="51">
                  <c:v>223487</c:v>
                </c:pt>
                <c:pt idx="52">
                  <c:v>223150</c:v>
                </c:pt>
                <c:pt idx="53">
                  <c:v>212482</c:v>
                </c:pt>
                <c:pt idx="54">
                  <c:v>196810</c:v>
                </c:pt>
                <c:pt idx="55">
                  <c:v>182893</c:v>
                </c:pt>
                <c:pt idx="56">
                  <c:v>186390</c:v>
                </c:pt>
                <c:pt idx="57">
                  <c:v>199501</c:v>
                </c:pt>
                <c:pt idx="58">
                  <c:v>196815</c:v>
                </c:pt>
                <c:pt idx="59">
                  <c:v>198365</c:v>
                </c:pt>
                <c:pt idx="60">
                  <c:v>201930</c:v>
                </c:pt>
                <c:pt idx="61">
                  <c:v>198686</c:v>
                </c:pt>
                <c:pt idx="62">
                  <c:v>197152</c:v>
                </c:pt>
                <c:pt idx="63">
                  <c:v>194624</c:v>
                </c:pt>
                <c:pt idx="64">
                  <c:v>191141</c:v>
                </c:pt>
                <c:pt idx="65">
                  <c:v>188777</c:v>
                </c:pt>
                <c:pt idx="66">
                  <c:v>187327</c:v>
                </c:pt>
                <c:pt idx="67">
                  <c:v>181421</c:v>
                </c:pt>
                <c:pt idx="68">
                  <c:v>175801</c:v>
                </c:pt>
                <c:pt idx="69">
                  <c:v>175873</c:v>
                </c:pt>
                <c:pt idx="70">
                  <c:v>173786</c:v>
                </c:pt>
                <c:pt idx="71">
                  <c:v>173278</c:v>
                </c:pt>
                <c:pt idx="72">
                  <c:v>174285</c:v>
                </c:pt>
                <c:pt idx="73">
                  <c:v>174095</c:v>
                </c:pt>
                <c:pt idx="74">
                  <c:v>172892</c:v>
                </c:pt>
                <c:pt idx="75">
                  <c:v>174470</c:v>
                </c:pt>
                <c:pt idx="76">
                  <c:v>175055</c:v>
                </c:pt>
                <c:pt idx="77">
                  <c:v>175713</c:v>
                </c:pt>
                <c:pt idx="78">
                  <c:v>176135</c:v>
                </c:pt>
                <c:pt idx="79">
                  <c:v>175720</c:v>
                </c:pt>
                <c:pt idx="80">
                  <c:v>176405</c:v>
                </c:pt>
                <c:pt idx="81">
                  <c:v>176838</c:v>
                </c:pt>
                <c:pt idx="82">
                  <c:v>177859</c:v>
                </c:pt>
                <c:pt idx="83">
                  <c:v>175065</c:v>
                </c:pt>
                <c:pt idx="84">
                  <c:v>175129</c:v>
                </c:pt>
                <c:pt idx="85">
                  <c:v>173092</c:v>
                </c:pt>
                <c:pt idx="86">
                  <c:v>171713</c:v>
                </c:pt>
                <c:pt idx="87">
                  <c:v>169300</c:v>
                </c:pt>
                <c:pt idx="88">
                  <c:v>170735</c:v>
                </c:pt>
                <c:pt idx="89">
                  <c:v>170488</c:v>
                </c:pt>
                <c:pt idx="90">
                  <c:v>170853</c:v>
                </c:pt>
                <c:pt idx="91">
                  <c:v>170728</c:v>
                </c:pt>
                <c:pt idx="92">
                  <c:v>169035</c:v>
                </c:pt>
                <c:pt idx="93">
                  <c:v>170843</c:v>
                </c:pt>
                <c:pt idx="94">
                  <c:v>171504</c:v>
                </c:pt>
                <c:pt idx="95">
                  <c:v>172714</c:v>
                </c:pt>
                <c:pt idx="96">
                  <c:v>170140</c:v>
                </c:pt>
                <c:pt idx="97">
                  <c:v>170072</c:v>
                </c:pt>
                <c:pt idx="98">
                  <c:v>169008</c:v>
                </c:pt>
                <c:pt idx="99">
                  <c:v>168299</c:v>
                </c:pt>
                <c:pt idx="100">
                  <c:v>174720</c:v>
                </c:pt>
                <c:pt idx="101">
                  <c:v>175031</c:v>
                </c:pt>
                <c:pt idx="102">
                  <c:v>175497</c:v>
                </c:pt>
                <c:pt idx="103">
                  <c:v>172819</c:v>
                </c:pt>
                <c:pt idx="104">
                  <c:v>176361</c:v>
                </c:pt>
                <c:pt idx="105">
                  <c:v>168913</c:v>
                </c:pt>
                <c:pt idx="106">
                  <c:v>176913</c:v>
                </c:pt>
                <c:pt idx="107">
                  <c:v>16284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0.06</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01</c:v>
                </c:pt>
                <c:pt idx="24">
                  <c:v>0</c:v>
                </c:pt>
                <c:pt idx="25">
                  <c:v>0</c:v>
                </c:pt>
                <c:pt idx="26">
                  <c:v>0</c:v>
                </c:pt>
                <c:pt idx="27">
                  <c:v>0.08</c:v>
                </c:pt>
                <c:pt idx="28">
                  <c:v>0.16</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c:v>
                </c:pt>
                <c:pt idx="49">
                  <c:v>0.13</c:v>
                </c:pt>
                <c:pt idx="50">
                  <c:v>0.15</c:v>
                </c:pt>
                <c:pt idx="51">
                  <c:v>0.12</c:v>
                </c:pt>
                <c:pt idx="52">
                  <c:v>0.08</c:v>
                </c:pt>
                <c:pt idx="53">
                  <c:v>0.24</c:v>
                </c:pt>
                <c:pt idx="54">
                  <c:v>0.19</c:v>
                </c:pt>
                <c:pt idx="55">
                  <c:v>0.11</c:v>
                </c:pt>
                <c:pt idx="56">
                  <c:v>0.23</c:v>
                </c:pt>
                <c:pt idx="57">
                  <c:v>0.39</c:v>
                </c:pt>
                <c:pt idx="58">
                  <c:v>0.43</c:v>
                </c:pt>
                <c:pt idx="59">
                  <c:v>0.53</c:v>
                </c:pt>
                <c:pt idx="60">
                  <c:v>0.53</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7</c:v>
                </c:pt>
                <c:pt idx="99">
                  <c:v>0.98</c:v>
                </c:pt>
                <c:pt idx="100">
                  <c:v>0.98</c:v>
                </c:pt>
                <c:pt idx="101">
                  <c:v>0.99</c:v>
                </c:pt>
                <c:pt idx="102">
                  <c:v>0.99</c:v>
                </c:pt>
                <c:pt idx="103">
                  <c:v>0.99</c:v>
                </c:pt>
                <c:pt idx="104">
                  <c:v>0.99</c:v>
                </c:pt>
                <c:pt idx="105">
                  <c:v>0.97</c:v>
                </c:pt>
                <c:pt idx="106">
                  <c:v>0.95</c:v>
                </c:pt>
                <c:pt idx="107">
                  <c:v>0.9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597</c:v>
                </c:pt>
                <c:pt idx="1">
                  <c:v>12860</c:v>
                </c:pt>
                <c:pt idx="2">
                  <c:v>8507</c:v>
                </c:pt>
                <c:pt idx="3">
                  <c:v>4896</c:v>
                </c:pt>
                <c:pt idx="4">
                  <c:v>2850</c:v>
                </c:pt>
                <c:pt idx="5">
                  <c:v>18740</c:v>
                </c:pt>
                <c:pt idx="6">
                  <c:v>25415</c:v>
                </c:pt>
                <c:pt idx="7">
                  <c:v>29182</c:v>
                </c:pt>
                <c:pt idx="8">
                  <c:v>22078</c:v>
                </c:pt>
                <c:pt idx="9">
                  <c:v>22795</c:v>
                </c:pt>
                <c:pt idx="10">
                  <c:v>24998</c:v>
                </c:pt>
                <c:pt idx="11">
                  <c:v>23510</c:v>
                </c:pt>
                <c:pt idx="12">
                  <c:v>20562</c:v>
                </c:pt>
                <c:pt idx="13">
                  <c:v>21732</c:v>
                </c:pt>
                <c:pt idx="14">
                  <c:v>21427</c:v>
                </c:pt>
                <c:pt idx="15">
                  <c:v>27481</c:v>
                </c:pt>
                <c:pt idx="16">
                  <c:v>16488</c:v>
                </c:pt>
                <c:pt idx="17">
                  <c:v>4916</c:v>
                </c:pt>
                <c:pt idx="18">
                  <c:v>313</c:v>
                </c:pt>
                <c:pt idx="19">
                  <c:v>122</c:v>
                </c:pt>
                <c:pt idx="20">
                  <c:v>381</c:v>
                </c:pt>
                <c:pt idx="21">
                  <c:v>432</c:v>
                </c:pt>
                <c:pt idx="22">
                  <c:v>136</c:v>
                </c:pt>
                <c:pt idx="23">
                  <c:v>331</c:v>
                </c:pt>
                <c:pt idx="24">
                  <c:v>676</c:v>
                </c:pt>
                <c:pt idx="25">
                  <c:v>314</c:v>
                </c:pt>
                <c:pt idx="26">
                  <c:v>74</c:v>
                </c:pt>
                <c:pt idx="27">
                  <c:v>16990</c:v>
                </c:pt>
                <c:pt idx="28">
                  <c:v>35191</c:v>
                </c:pt>
                <c:pt idx="29">
                  <c:v>22234</c:v>
                </c:pt>
                <c:pt idx="30">
                  <c:v>26316</c:v>
                </c:pt>
                <c:pt idx="31">
                  <c:v>29699</c:v>
                </c:pt>
                <c:pt idx="32">
                  <c:v>25323</c:v>
                </c:pt>
                <c:pt idx="33">
                  <c:v>31853</c:v>
                </c:pt>
                <c:pt idx="34">
                  <c:v>38282</c:v>
                </c:pt>
                <c:pt idx="35">
                  <c:v>14253</c:v>
                </c:pt>
                <c:pt idx="36">
                  <c:v>962</c:v>
                </c:pt>
                <c:pt idx="37">
                  <c:v>266</c:v>
                </c:pt>
                <c:pt idx="38">
                  <c:v>10432</c:v>
                </c:pt>
                <c:pt idx="39">
                  <c:v>20047</c:v>
                </c:pt>
                <c:pt idx="40">
                  <c:v>28941</c:v>
                </c:pt>
                <c:pt idx="41">
                  <c:v>37909</c:v>
                </c:pt>
                <c:pt idx="42">
                  <c:v>30231</c:v>
                </c:pt>
                <c:pt idx="43">
                  <c:v>25331</c:v>
                </c:pt>
                <c:pt idx="44">
                  <c:v>1958</c:v>
                </c:pt>
                <c:pt idx="45">
                  <c:v>127</c:v>
                </c:pt>
                <c:pt idx="46">
                  <c:v>752</c:v>
                </c:pt>
                <c:pt idx="47">
                  <c:v>598</c:v>
                </c:pt>
                <c:pt idx="48">
                  <c:v>902</c:v>
                </c:pt>
                <c:pt idx="49">
                  <c:v>15550</c:v>
                </c:pt>
                <c:pt idx="50">
                  <c:v>16347</c:v>
                </c:pt>
                <c:pt idx="51">
                  <c:v>8766</c:v>
                </c:pt>
                <c:pt idx="52">
                  <c:v>6839</c:v>
                </c:pt>
                <c:pt idx="53">
                  <c:v>21150</c:v>
                </c:pt>
                <c:pt idx="54">
                  <c:v>12515</c:v>
                </c:pt>
                <c:pt idx="55">
                  <c:v>6282</c:v>
                </c:pt>
                <c:pt idx="56">
                  <c:v>37420</c:v>
                </c:pt>
                <c:pt idx="57">
                  <c:v>70149</c:v>
                </c:pt>
                <c:pt idx="58">
                  <c:v>74639</c:v>
                </c:pt>
                <c:pt idx="59">
                  <c:v>109179</c:v>
                </c:pt>
                <c:pt idx="60">
                  <c:v>103880</c:v>
                </c:pt>
                <c:pt idx="61">
                  <c:v>96851</c:v>
                </c:pt>
                <c:pt idx="62">
                  <c:v>73370</c:v>
                </c:pt>
                <c:pt idx="63">
                  <c:v>42596</c:v>
                </c:pt>
                <c:pt idx="64">
                  <c:v>41190</c:v>
                </c:pt>
                <c:pt idx="65">
                  <c:v>42541</c:v>
                </c:pt>
                <c:pt idx="66">
                  <c:v>39167</c:v>
                </c:pt>
                <c:pt idx="67">
                  <c:v>35945</c:v>
                </c:pt>
                <c:pt idx="68">
                  <c:v>32895</c:v>
                </c:pt>
                <c:pt idx="69">
                  <c:v>35262</c:v>
                </c:pt>
                <c:pt idx="70">
                  <c:v>34147</c:v>
                </c:pt>
                <c:pt idx="71">
                  <c:v>30459</c:v>
                </c:pt>
                <c:pt idx="72">
                  <c:v>15468</c:v>
                </c:pt>
                <c:pt idx="73">
                  <c:v>419</c:v>
                </c:pt>
                <c:pt idx="74">
                  <c:v>269</c:v>
                </c:pt>
                <c:pt idx="75">
                  <c:v>365</c:v>
                </c:pt>
                <c:pt idx="76">
                  <c:v>1356</c:v>
                </c:pt>
                <c:pt idx="77">
                  <c:v>312</c:v>
                </c:pt>
                <c:pt idx="78">
                  <c:v>443</c:v>
                </c:pt>
                <c:pt idx="79">
                  <c:v>18918</c:v>
                </c:pt>
                <c:pt idx="80">
                  <c:v>35479</c:v>
                </c:pt>
                <c:pt idx="81">
                  <c:v>35606</c:v>
                </c:pt>
                <c:pt idx="82">
                  <c:v>34517</c:v>
                </c:pt>
                <c:pt idx="83">
                  <c:v>10292</c:v>
                </c:pt>
                <c:pt idx="84">
                  <c:v>8547</c:v>
                </c:pt>
                <c:pt idx="85">
                  <c:v>172</c:v>
                </c:pt>
                <c:pt idx="86">
                  <c:v>5721</c:v>
                </c:pt>
                <c:pt idx="87">
                  <c:v>375</c:v>
                </c:pt>
                <c:pt idx="88">
                  <c:v>396</c:v>
                </c:pt>
                <c:pt idx="89">
                  <c:v>288</c:v>
                </c:pt>
                <c:pt idx="90">
                  <c:v>9982</c:v>
                </c:pt>
                <c:pt idx="91">
                  <c:v>21579</c:v>
                </c:pt>
                <c:pt idx="92">
                  <c:v>34603</c:v>
                </c:pt>
                <c:pt idx="93">
                  <c:v>44083</c:v>
                </c:pt>
                <c:pt idx="94">
                  <c:v>20833</c:v>
                </c:pt>
                <c:pt idx="95">
                  <c:v>260</c:v>
                </c:pt>
                <c:pt idx="96">
                  <c:v>391</c:v>
                </c:pt>
                <c:pt idx="97">
                  <c:v>50325</c:v>
                </c:pt>
                <c:pt idx="98">
                  <c:v>158964</c:v>
                </c:pt>
                <c:pt idx="99">
                  <c:v>153082</c:v>
                </c:pt>
                <c:pt idx="100">
                  <c:v>168880</c:v>
                </c:pt>
                <c:pt idx="101">
                  <c:v>171953</c:v>
                </c:pt>
                <c:pt idx="102">
                  <c:v>187092</c:v>
                </c:pt>
                <c:pt idx="103">
                  <c:v>158434</c:v>
                </c:pt>
                <c:pt idx="104">
                  <c:v>164477</c:v>
                </c:pt>
                <c:pt idx="105">
                  <c:v>150502</c:v>
                </c:pt>
                <c:pt idx="106">
                  <c:v>15007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031</c:v>
                </c:pt>
                <c:pt idx="1">
                  <c:v>205646</c:v>
                </c:pt>
                <c:pt idx="2">
                  <c:v>209691</c:v>
                </c:pt>
                <c:pt idx="3">
                  <c:v>206706</c:v>
                </c:pt>
                <c:pt idx="4">
                  <c:v>216150</c:v>
                </c:pt>
                <c:pt idx="5">
                  <c:v>205988</c:v>
                </c:pt>
                <c:pt idx="6">
                  <c:v>196407</c:v>
                </c:pt>
                <c:pt idx="7">
                  <c:v>209682</c:v>
                </c:pt>
                <c:pt idx="8">
                  <c:v>221892</c:v>
                </c:pt>
                <c:pt idx="9">
                  <c:v>205720</c:v>
                </c:pt>
                <c:pt idx="10">
                  <c:v>204827</c:v>
                </c:pt>
                <c:pt idx="11">
                  <c:v>204380</c:v>
                </c:pt>
                <c:pt idx="12">
                  <c:v>198445</c:v>
                </c:pt>
                <c:pt idx="13">
                  <c:v>217665</c:v>
                </c:pt>
                <c:pt idx="14">
                  <c:v>191043</c:v>
                </c:pt>
                <c:pt idx="15">
                  <c:v>197283</c:v>
                </c:pt>
                <c:pt idx="16">
                  <c:v>198011</c:v>
                </c:pt>
                <c:pt idx="17">
                  <c:v>221056</c:v>
                </c:pt>
                <c:pt idx="18">
                  <c:v>210415</c:v>
                </c:pt>
                <c:pt idx="19">
                  <c:v>206849</c:v>
                </c:pt>
                <c:pt idx="20">
                  <c:v>224009</c:v>
                </c:pt>
                <c:pt idx="21">
                  <c:v>231998</c:v>
                </c:pt>
                <c:pt idx="22">
                  <c:v>231381</c:v>
                </c:pt>
                <c:pt idx="23">
                  <c:v>223325</c:v>
                </c:pt>
                <c:pt idx="24">
                  <c:v>218656</c:v>
                </c:pt>
                <c:pt idx="25">
                  <c:v>225073</c:v>
                </c:pt>
                <c:pt idx="26">
                  <c:v>232443</c:v>
                </c:pt>
                <c:pt idx="27">
                  <c:v>212106</c:v>
                </c:pt>
                <c:pt idx="28">
                  <c:v>210668</c:v>
                </c:pt>
                <c:pt idx="29">
                  <c:v>211529</c:v>
                </c:pt>
                <c:pt idx="30">
                  <c:v>223533</c:v>
                </c:pt>
                <c:pt idx="31">
                  <c:v>204763</c:v>
                </c:pt>
                <c:pt idx="32">
                  <c:v>209921</c:v>
                </c:pt>
                <c:pt idx="33">
                  <c:v>195135</c:v>
                </c:pt>
                <c:pt idx="34">
                  <c:v>194172</c:v>
                </c:pt>
                <c:pt idx="35">
                  <c:v>208065</c:v>
                </c:pt>
                <c:pt idx="36">
                  <c:v>210916</c:v>
                </c:pt>
                <c:pt idx="37">
                  <c:v>206578</c:v>
                </c:pt>
                <c:pt idx="38">
                  <c:v>200877</c:v>
                </c:pt>
                <c:pt idx="39">
                  <c:v>201782</c:v>
                </c:pt>
                <c:pt idx="40">
                  <c:v>175444</c:v>
                </c:pt>
                <c:pt idx="41">
                  <c:v>170068</c:v>
                </c:pt>
                <c:pt idx="42">
                  <c:v>174841</c:v>
                </c:pt>
                <c:pt idx="43">
                  <c:v>184235</c:v>
                </c:pt>
                <c:pt idx="44">
                  <c:v>201502</c:v>
                </c:pt>
                <c:pt idx="45">
                  <c:v>201322</c:v>
                </c:pt>
                <c:pt idx="46">
                  <c:v>187375</c:v>
                </c:pt>
                <c:pt idx="47">
                  <c:v>195003</c:v>
                </c:pt>
                <c:pt idx="48">
                  <c:v>205928</c:v>
                </c:pt>
                <c:pt idx="49">
                  <c:v>198584</c:v>
                </c:pt>
                <c:pt idx="50">
                  <c:v>208188</c:v>
                </c:pt>
                <c:pt idx="51">
                  <c:v>144702</c:v>
                </c:pt>
                <c:pt idx="52">
                  <c:v>163390</c:v>
                </c:pt>
                <c:pt idx="53">
                  <c:v>151580</c:v>
                </c:pt>
                <c:pt idx="54">
                  <c:v>164814</c:v>
                </c:pt>
                <c:pt idx="55">
                  <c:v>181377</c:v>
                </c:pt>
                <c:pt idx="56">
                  <c:v>159309</c:v>
                </c:pt>
                <c:pt idx="57">
                  <c:v>128395</c:v>
                </c:pt>
                <c:pt idx="58">
                  <c:v>111491</c:v>
                </c:pt>
                <c:pt idx="59">
                  <c:v>104576</c:v>
                </c:pt>
                <c:pt idx="60">
                  <c:v>100988</c:v>
                </c:pt>
                <c:pt idx="61">
                  <c:v>102623</c:v>
                </c:pt>
                <c:pt idx="62">
                  <c:v>116290</c:v>
                </c:pt>
                <c:pt idx="63">
                  <c:v>141890</c:v>
                </c:pt>
                <c:pt idx="64">
                  <c:v>141298</c:v>
                </c:pt>
                <c:pt idx="65">
                  <c:v>143641</c:v>
                </c:pt>
                <c:pt idx="66">
                  <c:v>140093</c:v>
                </c:pt>
                <c:pt idx="67">
                  <c:v>136290</c:v>
                </c:pt>
                <c:pt idx="68">
                  <c:v>137277</c:v>
                </c:pt>
                <c:pt idx="69">
                  <c:v>143692</c:v>
                </c:pt>
                <c:pt idx="70">
                  <c:v>141578</c:v>
                </c:pt>
                <c:pt idx="71">
                  <c:v>136631</c:v>
                </c:pt>
                <c:pt idx="72">
                  <c:v>161423</c:v>
                </c:pt>
                <c:pt idx="73">
                  <c:v>170265</c:v>
                </c:pt>
                <c:pt idx="74">
                  <c:v>180800</c:v>
                </c:pt>
                <c:pt idx="75">
                  <c:v>172358</c:v>
                </c:pt>
                <c:pt idx="76">
                  <c:v>168335</c:v>
                </c:pt>
                <c:pt idx="77">
                  <c:v>169113</c:v>
                </c:pt>
                <c:pt idx="78">
                  <c:v>186694</c:v>
                </c:pt>
                <c:pt idx="79">
                  <c:v>153870</c:v>
                </c:pt>
                <c:pt idx="80">
                  <c:v>145073</c:v>
                </c:pt>
                <c:pt idx="81">
                  <c:v>138642</c:v>
                </c:pt>
                <c:pt idx="82">
                  <c:v>147686</c:v>
                </c:pt>
                <c:pt idx="83">
                  <c:v>166614</c:v>
                </c:pt>
                <c:pt idx="84">
                  <c:v>164711</c:v>
                </c:pt>
                <c:pt idx="85">
                  <c:v>170799</c:v>
                </c:pt>
                <c:pt idx="86">
                  <c:v>163977</c:v>
                </c:pt>
                <c:pt idx="87">
                  <c:v>173486</c:v>
                </c:pt>
                <c:pt idx="88">
                  <c:v>161689</c:v>
                </c:pt>
                <c:pt idx="89">
                  <c:v>163252</c:v>
                </c:pt>
                <c:pt idx="90">
                  <c:v>152022</c:v>
                </c:pt>
                <c:pt idx="91">
                  <c:v>168391</c:v>
                </c:pt>
                <c:pt idx="92">
                  <c:v>138092</c:v>
                </c:pt>
                <c:pt idx="93">
                  <c:v>131565</c:v>
                </c:pt>
                <c:pt idx="94">
                  <c:v>146205</c:v>
                </c:pt>
                <c:pt idx="95">
                  <c:v>163223</c:v>
                </c:pt>
                <c:pt idx="96">
                  <c:v>173652</c:v>
                </c:pt>
                <c:pt idx="97">
                  <c:v>118233</c:v>
                </c:pt>
                <c:pt idx="98">
                  <c:v>3774</c:v>
                </c:pt>
                <c:pt idx="99">
                  <c:v>2658</c:v>
                </c:pt>
                <c:pt idx="100">
                  <c:v>3268</c:v>
                </c:pt>
                <c:pt idx="101">
                  <c:v>1980</c:v>
                </c:pt>
                <c:pt idx="102">
                  <c:v>1327</c:v>
                </c:pt>
                <c:pt idx="103">
                  <c:v>1377</c:v>
                </c:pt>
                <c:pt idx="104">
                  <c:v>2156</c:v>
                </c:pt>
                <c:pt idx="105">
                  <c:v>3796</c:v>
                </c:pt>
                <c:pt idx="106">
                  <c:v>6619</c:v>
                </c:pt>
                <c:pt idx="107">
                  <c:v>856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6628</c:v>
                </c:pt>
                <c:pt idx="1">
                  <c:v>218506</c:v>
                </c:pt>
                <c:pt idx="2">
                  <c:v>218198</c:v>
                </c:pt>
                <c:pt idx="3">
                  <c:v>211602</c:v>
                </c:pt>
                <c:pt idx="4">
                  <c:v>219000</c:v>
                </c:pt>
                <c:pt idx="5">
                  <c:v>224728</c:v>
                </c:pt>
                <c:pt idx="6">
                  <c:v>221822</c:v>
                </c:pt>
                <c:pt idx="7">
                  <c:v>238864</c:v>
                </c:pt>
                <c:pt idx="8">
                  <c:v>243970</c:v>
                </c:pt>
                <c:pt idx="9">
                  <c:v>228515</c:v>
                </c:pt>
                <c:pt idx="10">
                  <c:v>229825</c:v>
                </c:pt>
                <c:pt idx="11">
                  <c:v>227890</c:v>
                </c:pt>
                <c:pt idx="12">
                  <c:v>219007</c:v>
                </c:pt>
                <c:pt idx="13">
                  <c:v>239397</c:v>
                </c:pt>
                <c:pt idx="14">
                  <c:v>212470</c:v>
                </c:pt>
                <c:pt idx="15">
                  <c:v>224764</c:v>
                </c:pt>
                <c:pt idx="16">
                  <c:v>214499</c:v>
                </c:pt>
                <c:pt idx="17">
                  <c:v>225972</c:v>
                </c:pt>
                <c:pt idx="18">
                  <c:v>210728</c:v>
                </c:pt>
                <c:pt idx="19">
                  <c:v>206971</c:v>
                </c:pt>
                <c:pt idx="20">
                  <c:v>224390</c:v>
                </c:pt>
                <c:pt idx="21">
                  <c:v>232430</c:v>
                </c:pt>
                <c:pt idx="22">
                  <c:v>231517</c:v>
                </c:pt>
                <c:pt idx="23">
                  <c:v>223656</c:v>
                </c:pt>
                <c:pt idx="24">
                  <c:v>219332</c:v>
                </c:pt>
                <c:pt idx="25">
                  <c:v>225387</c:v>
                </c:pt>
                <c:pt idx="26">
                  <c:v>232517</c:v>
                </c:pt>
                <c:pt idx="27">
                  <c:v>229096</c:v>
                </c:pt>
                <c:pt idx="28">
                  <c:v>245859</c:v>
                </c:pt>
                <c:pt idx="29">
                  <c:v>233763</c:v>
                </c:pt>
                <c:pt idx="30">
                  <c:v>249849</c:v>
                </c:pt>
                <c:pt idx="31">
                  <c:v>234462</c:v>
                </c:pt>
                <c:pt idx="32">
                  <c:v>235244</c:v>
                </c:pt>
                <c:pt idx="33">
                  <c:v>226988</c:v>
                </c:pt>
                <c:pt idx="34">
                  <c:v>232454</c:v>
                </c:pt>
                <c:pt idx="35">
                  <c:v>222318</c:v>
                </c:pt>
                <c:pt idx="36">
                  <c:v>211878</c:v>
                </c:pt>
                <c:pt idx="37">
                  <c:v>206844</c:v>
                </c:pt>
                <c:pt idx="38">
                  <c:v>211309</c:v>
                </c:pt>
                <c:pt idx="39">
                  <c:v>221829</c:v>
                </c:pt>
                <c:pt idx="40">
                  <c:v>204385</c:v>
                </c:pt>
                <c:pt idx="41">
                  <c:v>207977</c:v>
                </c:pt>
                <c:pt idx="42">
                  <c:v>205072</c:v>
                </c:pt>
                <c:pt idx="43">
                  <c:v>209566</c:v>
                </c:pt>
                <c:pt idx="44">
                  <c:v>203460</c:v>
                </c:pt>
                <c:pt idx="45">
                  <c:v>201449</c:v>
                </c:pt>
                <c:pt idx="46">
                  <c:v>188127</c:v>
                </c:pt>
                <c:pt idx="47">
                  <c:v>195601</c:v>
                </c:pt>
                <c:pt idx="48">
                  <c:v>206830</c:v>
                </c:pt>
                <c:pt idx="49">
                  <c:v>214134</c:v>
                </c:pt>
                <c:pt idx="50">
                  <c:v>224535</c:v>
                </c:pt>
                <c:pt idx="51">
                  <c:v>153468</c:v>
                </c:pt>
                <c:pt idx="52">
                  <c:v>170229</c:v>
                </c:pt>
                <c:pt idx="53">
                  <c:v>172730</c:v>
                </c:pt>
                <c:pt idx="54">
                  <c:v>177329</c:v>
                </c:pt>
                <c:pt idx="55">
                  <c:v>187659</c:v>
                </c:pt>
                <c:pt idx="56">
                  <c:v>196729</c:v>
                </c:pt>
                <c:pt idx="57">
                  <c:v>198544</c:v>
                </c:pt>
                <c:pt idx="58">
                  <c:v>186130</c:v>
                </c:pt>
                <c:pt idx="59">
                  <c:v>213755</c:v>
                </c:pt>
                <c:pt idx="60">
                  <c:v>204868</c:v>
                </c:pt>
                <c:pt idx="61">
                  <c:v>199474</c:v>
                </c:pt>
                <c:pt idx="62">
                  <c:v>189660</c:v>
                </c:pt>
                <c:pt idx="63">
                  <c:v>184486</c:v>
                </c:pt>
                <c:pt idx="64">
                  <c:v>182488</c:v>
                </c:pt>
                <c:pt idx="65">
                  <c:v>186182</c:v>
                </c:pt>
                <c:pt idx="66">
                  <c:v>179260</c:v>
                </c:pt>
                <c:pt idx="67">
                  <c:v>172235</c:v>
                </c:pt>
                <c:pt idx="68">
                  <c:v>170172</c:v>
                </c:pt>
                <c:pt idx="69">
                  <c:v>178954</c:v>
                </c:pt>
                <c:pt idx="70">
                  <c:v>175725</c:v>
                </c:pt>
                <c:pt idx="71">
                  <c:v>167090</c:v>
                </c:pt>
                <c:pt idx="72">
                  <c:v>176891</c:v>
                </c:pt>
                <c:pt idx="73">
                  <c:v>170684</c:v>
                </c:pt>
                <c:pt idx="74">
                  <c:v>181069</c:v>
                </c:pt>
                <c:pt idx="75">
                  <c:v>172723</c:v>
                </c:pt>
                <c:pt idx="76">
                  <c:v>169691</c:v>
                </c:pt>
                <c:pt idx="77">
                  <c:v>169425</c:v>
                </c:pt>
                <c:pt idx="78">
                  <c:v>187137</c:v>
                </c:pt>
                <c:pt idx="79">
                  <c:v>172788</c:v>
                </c:pt>
                <c:pt idx="80">
                  <c:v>180552</c:v>
                </c:pt>
                <c:pt idx="81">
                  <c:v>174248</c:v>
                </c:pt>
                <c:pt idx="82">
                  <c:v>182203</c:v>
                </c:pt>
                <c:pt idx="83">
                  <c:v>176906</c:v>
                </c:pt>
                <c:pt idx="84">
                  <c:v>173258</c:v>
                </c:pt>
                <c:pt idx="85">
                  <c:v>170971</c:v>
                </c:pt>
                <c:pt idx="86">
                  <c:v>169698</c:v>
                </c:pt>
                <c:pt idx="87">
                  <c:v>173861</c:v>
                </c:pt>
                <c:pt idx="88">
                  <c:v>162085</c:v>
                </c:pt>
                <c:pt idx="89">
                  <c:v>163540</c:v>
                </c:pt>
                <c:pt idx="90">
                  <c:v>162004</c:v>
                </c:pt>
                <c:pt idx="91">
                  <c:v>189970</c:v>
                </c:pt>
                <c:pt idx="92">
                  <c:v>172695</c:v>
                </c:pt>
                <c:pt idx="93">
                  <c:v>175648</c:v>
                </c:pt>
                <c:pt idx="94">
                  <c:v>167038</c:v>
                </c:pt>
                <c:pt idx="95">
                  <c:v>163483</c:v>
                </c:pt>
                <c:pt idx="96">
                  <c:v>174043</c:v>
                </c:pt>
                <c:pt idx="97">
                  <c:v>168558</c:v>
                </c:pt>
                <c:pt idx="98">
                  <c:v>162738</c:v>
                </c:pt>
                <c:pt idx="99">
                  <c:v>155740</c:v>
                </c:pt>
                <c:pt idx="100">
                  <c:v>172148</c:v>
                </c:pt>
                <c:pt idx="101">
                  <c:v>173933</c:v>
                </c:pt>
                <c:pt idx="102">
                  <c:v>188419</c:v>
                </c:pt>
                <c:pt idx="103">
                  <c:v>159811</c:v>
                </c:pt>
                <c:pt idx="104">
                  <c:v>166633</c:v>
                </c:pt>
                <c:pt idx="105">
                  <c:v>154298</c:v>
                </c:pt>
                <c:pt idx="106">
                  <c:v>156691</c:v>
                </c:pt>
                <c:pt idx="107">
                  <c:v>14364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8679</c:v>
                </c:pt>
                <c:pt idx="1">
                  <c:v>210664</c:v>
                </c:pt>
                <c:pt idx="2">
                  <c:v>213028</c:v>
                </c:pt>
                <c:pt idx="3">
                  <c:v>213429</c:v>
                </c:pt>
                <c:pt idx="4">
                  <c:v>214630</c:v>
                </c:pt>
                <c:pt idx="5">
                  <c:v>217591</c:v>
                </c:pt>
                <c:pt idx="6">
                  <c:v>223315</c:v>
                </c:pt>
                <c:pt idx="7">
                  <c:v>232842</c:v>
                </c:pt>
                <c:pt idx="8">
                  <c:v>234011</c:v>
                </c:pt>
                <c:pt idx="9">
                  <c:v>232595</c:v>
                </c:pt>
                <c:pt idx="10">
                  <c:v>230861</c:v>
                </c:pt>
                <c:pt idx="11">
                  <c:v>229055</c:v>
                </c:pt>
                <c:pt idx="12">
                  <c:v>227485</c:v>
                </c:pt>
                <c:pt idx="13">
                  <c:v>224842</c:v>
                </c:pt>
                <c:pt idx="14">
                  <c:v>223832</c:v>
                </c:pt>
                <c:pt idx="15">
                  <c:v>221427</c:v>
                </c:pt>
                <c:pt idx="16">
                  <c:v>218736</c:v>
                </c:pt>
                <c:pt idx="17">
                  <c:v>219752</c:v>
                </c:pt>
                <c:pt idx="18">
                  <c:v>218940</c:v>
                </c:pt>
                <c:pt idx="19">
                  <c:v>221427</c:v>
                </c:pt>
                <c:pt idx="20">
                  <c:v>221537</c:v>
                </c:pt>
                <c:pt idx="21">
                  <c:v>222229</c:v>
                </c:pt>
                <c:pt idx="22">
                  <c:v>222104</c:v>
                </c:pt>
                <c:pt idx="23">
                  <c:v>224837</c:v>
                </c:pt>
                <c:pt idx="24">
                  <c:v>227525</c:v>
                </c:pt>
                <c:pt idx="25">
                  <c:v>229798</c:v>
                </c:pt>
                <c:pt idx="26">
                  <c:v>229706</c:v>
                </c:pt>
                <c:pt idx="27">
                  <c:v>231717</c:v>
                </c:pt>
                <c:pt idx="28">
                  <c:v>232983</c:v>
                </c:pt>
                <c:pt idx="29">
                  <c:v>234607</c:v>
                </c:pt>
                <c:pt idx="30">
                  <c:v>235284</c:v>
                </c:pt>
                <c:pt idx="31">
                  <c:v>234497</c:v>
                </c:pt>
                <c:pt idx="32">
                  <c:v>234197</c:v>
                </c:pt>
                <c:pt idx="33">
                  <c:v>229342</c:v>
                </c:pt>
                <c:pt idx="34">
                  <c:v>226332</c:v>
                </c:pt>
                <c:pt idx="35">
                  <c:v>221874</c:v>
                </c:pt>
                <c:pt idx="36">
                  <c:v>220486</c:v>
                </c:pt>
                <c:pt idx="37">
                  <c:v>216803</c:v>
                </c:pt>
                <c:pt idx="38">
                  <c:v>214492</c:v>
                </c:pt>
                <c:pt idx="39">
                  <c:v>211483</c:v>
                </c:pt>
                <c:pt idx="40">
                  <c:v>209658</c:v>
                </c:pt>
                <c:pt idx="41">
                  <c:v>208425</c:v>
                </c:pt>
                <c:pt idx="42">
                  <c:v>207246</c:v>
                </c:pt>
                <c:pt idx="43">
                  <c:v>204717</c:v>
                </c:pt>
                <c:pt idx="44">
                  <c:v>201928</c:v>
                </c:pt>
                <c:pt idx="45">
                  <c:v>202228</c:v>
                </c:pt>
                <c:pt idx="46">
                  <c:v>203930</c:v>
                </c:pt>
                <c:pt idx="47">
                  <c:v>207653</c:v>
                </c:pt>
                <c:pt idx="48">
                  <c:v>201632</c:v>
                </c:pt>
                <c:pt idx="49">
                  <c:v>195576</c:v>
                </c:pt>
                <c:pt idx="50">
                  <c:v>189930</c:v>
                </c:pt>
                <c:pt idx="51">
                  <c:v>217951</c:v>
                </c:pt>
                <c:pt idx="52">
                  <c:v>218305</c:v>
                </c:pt>
                <c:pt idx="53">
                  <c:v>206886</c:v>
                </c:pt>
                <c:pt idx="54">
                  <c:v>191214</c:v>
                </c:pt>
                <c:pt idx="55">
                  <c:v>177297</c:v>
                </c:pt>
                <c:pt idx="56">
                  <c:v>180766</c:v>
                </c:pt>
                <c:pt idx="57">
                  <c:v>194454</c:v>
                </c:pt>
                <c:pt idx="58">
                  <c:v>194309</c:v>
                </c:pt>
                <c:pt idx="59">
                  <c:v>195500</c:v>
                </c:pt>
                <c:pt idx="60">
                  <c:v>199670</c:v>
                </c:pt>
                <c:pt idx="61">
                  <c:v>197838</c:v>
                </c:pt>
                <c:pt idx="62">
                  <c:v>196618</c:v>
                </c:pt>
                <c:pt idx="63">
                  <c:v>194133</c:v>
                </c:pt>
                <c:pt idx="64">
                  <c:v>190848</c:v>
                </c:pt>
                <c:pt idx="65">
                  <c:v>188595</c:v>
                </c:pt>
                <c:pt idx="66">
                  <c:v>187158</c:v>
                </c:pt>
                <c:pt idx="67">
                  <c:v>181264</c:v>
                </c:pt>
                <c:pt idx="68">
                  <c:v>175655</c:v>
                </c:pt>
                <c:pt idx="69">
                  <c:v>175769</c:v>
                </c:pt>
                <c:pt idx="70">
                  <c:v>173679</c:v>
                </c:pt>
                <c:pt idx="71">
                  <c:v>173215</c:v>
                </c:pt>
                <c:pt idx="72">
                  <c:v>174206</c:v>
                </c:pt>
                <c:pt idx="73">
                  <c:v>174013</c:v>
                </c:pt>
                <c:pt idx="74">
                  <c:v>172824</c:v>
                </c:pt>
                <c:pt idx="75">
                  <c:v>174406</c:v>
                </c:pt>
                <c:pt idx="76">
                  <c:v>174967</c:v>
                </c:pt>
                <c:pt idx="77">
                  <c:v>175654</c:v>
                </c:pt>
                <c:pt idx="78">
                  <c:v>176067</c:v>
                </c:pt>
                <c:pt idx="79">
                  <c:v>175677</c:v>
                </c:pt>
                <c:pt idx="80">
                  <c:v>176362</c:v>
                </c:pt>
                <c:pt idx="81">
                  <c:v>176790</c:v>
                </c:pt>
                <c:pt idx="82">
                  <c:v>177822</c:v>
                </c:pt>
                <c:pt idx="83">
                  <c:v>175016</c:v>
                </c:pt>
                <c:pt idx="84">
                  <c:v>175094</c:v>
                </c:pt>
                <c:pt idx="85">
                  <c:v>173055</c:v>
                </c:pt>
                <c:pt idx="86">
                  <c:v>171677</c:v>
                </c:pt>
                <c:pt idx="87">
                  <c:v>169263</c:v>
                </c:pt>
                <c:pt idx="88">
                  <c:v>170698</c:v>
                </c:pt>
                <c:pt idx="89">
                  <c:v>170449</c:v>
                </c:pt>
                <c:pt idx="90">
                  <c:v>170798</c:v>
                </c:pt>
                <c:pt idx="91">
                  <c:v>170724</c:v>
                </c:pt>
                <c:pt idx="92">
                  <c:v>169019</c:v>
                </c:pt>
                <c:pt idx="93">
                  <c:v>170813</c:v>
                </c:pt>
                <c:pt idx="94">
                  <c:v>171476</c:v>
                </c:pt>
                <c:pt idx="95">
                  <c:v>172667</c:v>
                </c:pt>
                <c:pt idx="96">
                  <c:v>170101</c:v>
                </c:pt>
                <c:pt idx="97">
                  <c:v>170021</c:v>
                </c:pt>
                <c:pt idx="98">
                  <c:v>168947</c:v>
                </c:pt>
                <c:pt idx="99">
                  <c:v>168245</c:v>
                </c:pt>
                <c:pt idx="100">
                  <c:v>174712</c:v>
                </c:pt>
                <c:pt idx="101">
                  <c:v>174949</c:v>
                </c:pt>
                <c:pt idx="102">
                  <c:v>175392</c:v>
                </c:pt>
                <c:pt idx="103">
                  <c:v>172538</c:v>
                </c:pt>
                <c:pt idx="104">
                  <c:v>175739</c:v>
                </c:pt>
                <c:pt idx="105">
                  <c:v>167841</c:v>
                </c:pt>
                <c:pt idx="106">
                  <c:v>175339</c:v>
                </c:pt>
                <c:pt idx="107">
                  <c:v>16082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7.0000000000000007E-2</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c:v>
                </c:pt>
                <c:pt idx="24">
                  <c:v>0</c:v>
                </c:pt>
                <c:pt idx="25">
                  <c:v>0</c:v>
                </c:pt>
                <c:pt idx="26">
                  <c:v>0</c:v>
                </c:pt>
                <c:pt idx="27">
                  <c:v>0.08</c:v>
                </c:pt>
                <c:pt idx="28">
                  <c:v>0.17</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01</c:v>
                </c:pt>
                <c:pt idx="49">
                  <c:v>0.12</c:v>
                </c:pt>
                <c:pt idx="50">
                  <c:v>0.13</c:v>
                </c:pt>
                <c:pt idx="51">
                  <c:v>0.1</c:v>
                </c:pt>
                <c:pt idx="52">
                  <c:v>0.06</c:v>
                </c:pt>
                <c:pt idx="53">
                  <c:v>0.19</c:v>
                </c:pt>
                <c:pt idx="54">
                  <c:v>0.13</c:v>
                </c:pt>
                <c:pt idx="55">
                  <c:v>0.06</c:v>
                </c:pt>
                <c:pt idx="56">
                  <c:v>0.22</c:v>
                </c:pt>
                <c:pt idx="57">
                  <c:v>0.38</c:v>
                </c:pt>
                <c:pt idx="58">
                  <c:v>0.42</c:v>
                </c:pt>
                <c:pt idx="59">
                  <c:v>0.53</c:v>
                </c:pt>
                <c:pt idx="60">
                  <c:v>0.52</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8</c:v>
                </c:pt>
                <c:pt idx="99">
                  <c:v>0.98</c:v>
                </c:pt>
                <c:pt idx="100">
                  <c:v>0.98</c:v>
                </c:pt>
                <c:pt idx="101">
                  <c:v>0.99</c:v>
                </c:pt>
                <c:pt idx="102">
                  <c:v>0.99</c:v>
                </c:pt>
                <c:pt idx="103">
                  <c:v>0.99</c:v>
                </c:pt>
                <c:pt idx="104">
                  <c:v>0.99</c:v>
                </c:pt>
                <c:pt idx="105">
                  <c:v>0.97</c:v>
                </c:pt>
                <c:pt idx="106">
                  <c:v>0.96</c:v>
                </c:pt>
                <c:pt idx="107">
                  <c:v>0.9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89</c:v>
                </c:pt>
                <c:pt idx="1">
                  <c:v>284</c:v>
                </c:pt>
                <c:pt idx="2">
                  <c:v>294</c:v>
                </c:pt>
                <c:pt idx="3">
                  <c:v>315</c:v>
                </c:pt>
                <c:pt idx="4">
                  <c:v>310</c:v>
                </c:pt>
                <c:pt idx="5">
                  <c:v>279</c:v>
                </c:pt>
                <c:pt idx="6">
                  <c:v>329</c:v>
                </c:pt>
                <c:pt idx="7">
                  <c:v>177</c:v>
                </c:pt>
                <c:pt idx="8">
                  <c:v>594</c:v>
                </c:pt>
                <c:pt idx="9">
                  <c:v>432</c:v>
                </c:pt>
                <c:pt idx="10">
                  <c:v>339</c:v>
                </c:pt>
                <c:pt idx="11">
                  <c:v>401</c:v>
                </c:pt>
                <c:pt idx="12">
                  <c:v>281</c:v>
                </c:pt>
                <c:pt idx="13">
                  <c:v>150</c:v>
                </c:pt>
                <c:pt idx="14">
                  <c:v>12324</c:v>
                </c:pt>
                <c:pt idx="15">
                  <c:v>11892</c:v>
                </c:pt>
                <c:pt idx="16">
                  <c:v>5416</c:v>
                </c:pt>
                <c:pt idx="17">
                  <c:v>4549</c:v>
                </c:pt>
                <c:pt idx="18">
                  <c:v>3435</c:v>
                </c:pt>
                <c:pt idx="19">
                  <c:v>2370</c:v>
                </c:pt>
                <c:pt idx="20">
                  <c:v>1967</c:v>
                </c:pt>
                <c:pt idx="21">
                  <c:v>1286</c:v>
                </c:pt>
                <c:pt idx="22">
                  <c:v>1503</c:v>
                </c:pt>
                <c:pt idx="23">
                  <c:v>764</c:v>
                </c:pt>
                <c:pt idx="24">
                  <c:v>914</c:v>
                </c:pt>
                <c:pt idx="25">
                  <c:v>551</c:v>
                </c:pt>
                <c:pt idx="26">
                  <c:v>706</c:v>
                </c:pt>
                <c:pt idx="27">
                  <c:v>396</c:v>
                </c:pt>
                <c:pt idx="28">
                  <c:v>686</c:v>
                </c:pt>
                <c:pt idx="29">
                  <c:v>801</c:v>
                </c:pt>
                <c:pt idx="30">
                  <c:v>817</c:v>
                </c:pt>
                <c:pt idx="31">
                  <c:v>445</c:v>
                </c:pt>
                <c:pt idx="32">
                  <c:v>724</c:v>
                </c:pt>
                <c:pt idx="33">
                  <c:v>284</c:v>
                </c:pt>
                <c:pt idx="34">
                  <c:v>392</c:v>
                </c:pt>
                <c:pt idx="35">
                  <c:v>389</c:v>
                </c:pt>
                <c:pt idx="36">
                  <c:v>490</c:v>
                </c:pt>
                <c:pt idx="37">
                  <c:v>475</c:v>
                </c:pt>
                <c:pt idx="38">
                  <c:v>1147</c:v>
                </c:pt>
                <c:pt idx="39">
                  <c:v>1536</c:v>
                </c:pt>
                <c:pt idx="40">
                  <c:v>805</c:v>
                </c:pt>
                <c:pt idx="41">
                  <c:v>1397</c:v>
                </c:pt>
                <c:pt idx="42">
                  <c:v>1484</c:v>
                </c:pt>
                <c:pt idx="43">
                  <c:v>1448</c:v>
                </c:pt>
                <c:pt idx="44">
                  <c:v>1592</c:v>
                </c:pt>
                <c:pt idx="45">
                  <c:v>1657</c:v>
                </c:pt>
                <c:pt idx="46">
                  <c:v>1495</c:v>
                </c:pt>
                <c:pt idx="47">
                  <c:v>1632</c:v>
                </c:pt>
                <c:pt idx="48">
                  <c:v>1929</c:v>
                </c:pt>
                <c:pt idx="49">
                  <c:v>1583</c:v>
                </c:pt>
                <c:pt idx="50">
                  <c:v>1843</c:v>
                </c:pt>
                <c:pt idx="51">
                  <c:v>1235</c:v>
                </c:pt>
                <c:pt idx="52">
                  <c:v>1567</c:v>
                </c:pt>
                <c:pt idx="53">
                  <c:v>1579</c:v>
                </c:pt>
                <c:pt idx="54">
                  <c:v>1581</c:v>
                </c:pt>
                <c:pt idx="55">
                  <c:v>1543</c:v>
                </c:pt>
                <c:pt idx="56">
                  <c:v>1455</c:v>
                </c:pt>
                <c:pt idx="57">
                  <c:v>1623</c:v>
                </c:pt>
                <c:pt idx="58">
                  <c:v>1274</c:v>
                </c:pt>
                <c:pt idx="59">
                  <c:v>2000</c:v>
                </c:pt>
                <c:pt idx="60">
                  <c:v>1365</c:v>
                </c:pt>
                <c:pt idx="61">
                  <c:v>1410</c:v>
                </c:pt>
                <c:pt idx="62">
                  <c:v>1625</c:v>
                </c:pt>
                <c:pt idx="63">
                  <c:v>1408</c:v>
                </c:pt>
                <c:pt idx="64">
                  <c:v>1696</c:v>
                </c:pt>
                <c:pt idx="65">
                  <c:v>1535</c:v>
                </c:pt>
                <c:pt idx="66">
                  <c:v>1370</c:v>
                </c:pt>
                <c:pt idx="67">
                  <c:v>1463</c:v>
                </c:pt>
                <c:pt idx="68">
                  <c:v>1319</c:v>
                </c:pt>
                <c:pt idx="69">
                  <c:v>1452</c:v>
                </c:pt>
                <c:pt idx="70">
                  <c:v>1490</c:v>
                </c:pt>
                <c:pt idx="71">
                  <c:v>1199</c:v>
                </c:pt>
                <c:pt idx="72">
                  <c:v>1203</c:v>
                </c:pt>
                <c:pt idx="73">
                  <c:v>1177</c:v>
                </c:pt>
                <c:pt idx="74">
                  <c:v>1137</c:v>
                </c:pt>
                <c:pt idx="75">
                  <c:v>1835</c:v>
                </c:pt>
                <c:pt idx="76">
                  <c:v>1296</c:v>
                </c:pt>
                <c:pt idx="77">
                  <c:v>1411</c:v>
                </c:pt>
                <c:pt idx="78">
                  <c:v>1447</c:v>
                </c:pt>
                <c:pt idx="79">
                  <c:v>1500</c:v>
                </c:pt>
                <c:pt idx="80">
                  <c:v>951</c:v>
                </c:pt>
                <c:pt idx="81">
                  <c:v>1219</c:v>
                </c:pt>
                <c:pt idx="82">
                  <c:v>1331</c:v>
                </c:pt>
                <c:pt idx="83">
                  <c:v>1083</c:v>
                </c:pt>
                <c:pt idx="84">
                  <c:v>1311</c:v>
                </c:pt>
                <c:pt idx="85">
                  <c:v>1643</c:v>
                </c:pt>
                <c:pt idx="86">
                  <c:v>926</c:v>
                </c:pt>
                <c:pt idx="87">
                  <c:v>1415</c:v>
                </c:pt>
                <c:pt idx="88">
                  <c:v>1102</c:v>
                </c:pt>
                <c:pt idx="89">
                  <c:v>1283</c:v>
                </c:pt>
                <c:pt idx="90">
                  <c:v>1122</c:v>
                </c:pt>
                <c:pt idx="91">
                  <c:v>1195</c:v>
                </c:pt>
                <c:pt idx="92">
                  <c:v>1247</c:v>
                </c:pt>
                <c:pt idx="93">
                  <c:v>1428</c:v>
                </c:pt>
                <c:pt idx="94">
                  <c:v>859</c:v>
                </c:pt>
                <c:pt idx="95">
                  <c:v>1199</c:v>
                </c:pt>
                <c:pt idx="96">
                  <c:v>1105</c:v>
                </c:pt>
                <c:pt idx="97">
                  <c:v>934</c:v>
                </c:pt>
                <c:pt idx="98">
                  <c:v>1117</c:v>
                </c:pt>
                <c:pt idx="99">
                  <c:v>896</c:v>
                </c:pt>
                <c:pt idx="100">
                  <c:v>1303</c:v>
                </c:pt>
                <c:pt idx="101">
                  <c:v>26539</c:v>
                </c:pt>
                <c:pt idx="102">
                  <c:v>35808</c:v>
                </c:pt>
                <c:pt idx="103">
                  <c:v>21400</c:v>
                </c:pt>
                <c:pt idx="104">
                  <c:v>23633</c:v>
                </c:pt>
                <c:pt idx="105">
                  <c:v>12372</c:v>
                </c:pt>
                <c:pt idx="106">
                  <c:v>5743</c:v>
                </c:pt>
                <c:pt idx="107">
                  <c:v>26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75541</c:v>
                </c:pt>
                <c:pt idx="1">
                  <c:v>73109</c:v>
                </c:pt>
                <c:pt idx="2">
                  <c:v>79011</c:v>
                </c:pt>
                <c:pt idx="3">
                  <c:v>79625</c:v>
                </c:pt>
                <c:pt idx="4">
                  <c:v>83840</c:v>
                </c:pt>
                <c:pt idx="5">
                  <c:v>83439</c:v>
                </c:pt>
                <c:pt idx="6">
                  <c:v>77686</c:v>
                </c:pt>
                <c:pt idx="7">
                  <c:v>80295</c:v>
                </c:pt>
                <c:pt idx="8">
                  <c:v>79128</c:v>
                </c:pt>
                <c:pt idx="9">
                  <c:v>74010</c:v>
                </c:pt>
                <c:pt idx="10">
                  <c:v>60685</c:v>
                </c:pt>
                <c:pt idx="11">
                  <c:v>52449</c:v>
                </c:pt>
                <c:pt idx="12">
                  <c:v>43830</c:v>
                </c:pt>
                <c:pt idx="13">
                  <c:v>38930</c:v>
                </c:pt>
                <c:pt idx="14">
                  <c:v>32205</c:v>
                </c:pt>
                <c:pt idx="15">
                  <c:v>78882</c:v>
                </c:pt>
                <c:pt idx="16">
                  <c:v>116390</c:v>
                </c:pt>
                <c:pt idx="17">
                  <c:v>131281</c:v>
                </c:pt>
                <c:pt idx="18">
                  <c:v>125683</c:v>
                </c:pt>
                <c:pt idx="19">
                  <c:v>124214</c:v>
                </c:pt>
                <c:pt idx="20">
                  <c:v>130499</c:v>
                </c:pt>
                <c:pt idx="21">
                  <c:v>138041</c:v>
                </c:pt>
                <c:pt idx="22">
                  <c:v>137895</c:v>
                </c:pt>
                <c:pt idx="23">
                  <c:v>135001</c:v>
                </c:pt>
                <c:pt idx="24">
                  <c:v>132195</c:v>
                </c:pt>
                <c:pt idx="25">
                  <c:v>138434</c:v>
                </c:pt>
                <c:pt idx="26">
                  <c:v>142842</c:v>
                </c:pt>
                <c:pt idx="27">
                  <c:v>142814</c:v>
                </c:pt>
                <c:pt idx="28">
                  <c:v>141082</c:v>
                </c:pt>
                <c:pt idx="29">
                  <c:v>139856</c:v>
                </c:pt>
                <c:pt idx="30">
                  <c:v>153242</c:v>
                </c:pt>
                <c:pt idx="31">
                  <c:v>146006</c:v>
                </c:pt>
                <c:pt idx="32">
                  <c:v>144727</c:v>
                </c:pt>
                <c:pt idx="33">
                  <c:v>141814</c:v>
                </c:pt>
                <c:pt idx="34">
                  <c:v>146481</c:v>
                </c:pt>
                <c:pt idx="35">
                  <c:v>143629</c:v>
                </c:pt>
                <c:pt idx="36">
                  <c:v>134037</c:v>
                </c:pt>
                <c:pt idx="37">
                  <c:v>136491</c:v>
                </c:pt>
                <c:pt idx="38">
                  <c:v>136766</c:v>
                </c:pt>
                <c:pt idx="39">
                  <c:v>143508</c:v>
                </c:pt>
                <c:pt idx="40">
                  <c:v>136763</c:v>
                </c:pt>
                <c:pt idx="41">
                  <c:v>135826</c:v>
                </c:pt>
                <c:pt idx="42">
                  <c:v>136202</c:v>
                </c:pt>
                <c:pt idx="43">
                  <c:v>142563</c:v>
                </c:pt>
                <c:pt idx="44">
                  <c:v>145925</c:v>
                </c:pt>
                <c:pt idx="45">
                  <c:v>137784</c:v>
                </c:pt>
                <c:pt idx="46">
                  <c:v>131322</c:v>
                </c:pt>
                <c:pt idx="47">
                  <c:v>144569</c:v>
                </c:pt>
                <c:pt idx="48">
                  <c:v>149716</c:v>
                </c:pt>
                <c:pt idx="49">
                  <c:v>145929</c:v>
                </c:pt>
                <c:pt idx="50">
                  <c:v>167007</c:v>
                </c:pt>
                <c:pt idx="51">
                  <c:v>127155</c:v>
                </c:pt>
                <c:pt idx="52">
                  <c:v>146873</c:v>
                </c:pt>
                <c:pt idx="53">
                  <c:v>138653</c:v>
                </c:pt>
                <c:pt idx="54">
                  <c:v>129754</c:v>
                </c:pt>
                <c:pt idx="55">
                  <c:v>133970</c:v>
                </c:pt>
                <c:pt idx="56">
                  <c:v>137724</c:v>
                </c:pt>
                <c:pt idx="57">
                  <c:v>139634</c:v>
                </c:pt>
                <c:pt idx="58">
                  <c:v>132481</c:v>
                </c:pt>
                <c:pt idx="59">
                  <c:v>139741</c:v>
                </c:pt>
                <c:pt idx="60">
                  <c:v>146875</c:v>
                </c:pt>
                <c:pt idx="61">
                  <c:v>147777</c:v>
                </c:pt>
                <c:pt idx="62">
                  <c:v>141202</c:v>
                </c:pt>
                <c:pt idx="63">
                  <c:v>133765</c:v>
                </c:pt>
                <c:pt idx="64">
                  <c:v>137958</c:v>
                </c:pt>
                <c:pt idx="65">
                  <c:v>144406</c:v>
                </c:pt>
                <c:pt idx="66">
                  <c:v>143878</c:v>
                </c:pt>
                <c:pt idx="67">
                  <c:v>143530</c:v>
                </c:pt>
                <c:pt idx="68">
                  <c:v>139539</c:v>
                </c:pt>
                <c:pt idx="69">
                  <c:v>149223</c:v>
                </c:pt>
                <c:pt idx="70">
                  <c:v>145439</c:v>
                </c:pt>
                <c:pt idx="71">
                  <c:v>134645</c:v>
                </c:pt>
                <c:pt idx="72">
                  <c:v>144115</c:v>
                </c:pt>
                <c:pt idx="73">
                  <c:v>139567</c:v>
                </c:pt>
                <c:pt idx="74">
                  <c:v>155323</c:v>
                </c:pt>
                <c:pt idx="75">
                  <c:v>144044</c:v>
                </c:pt>
                <c:pt idx="76">
                  <c:v>145392</c:v>
                </c:pt>
                <c:pt idx="77">
                  <c:v>145941</c:v>
                </c:pt>
                <c:pt idx="78">
                  <c:v>158709</c:v>
                </c:pt>
                <c:pt idx="79">
                  <c:v>146195</c:v>
                </c:pt>
                <c:pt idx="80">
                  <c:v>148759</c:v>
                </c:pt>
                <c:pt idx="81">
                  <c:v>145861</c:v>
                </c:pt>
                <c:pt idx="82">
                  <c:v>153868</c:v>
                </c:pt>
                <c:pt idx="83">
                  <c:v>149007</c:v>
                </c:pt>
                <c:pt idx="84">
                  <c:v>148159</c:v>
                </c:pt>
                <c:pt idx="85">
                  <c:v>145554</c:v>
                </c:pt>
                <c:pt idx="86">
                  <c:v>148235</c:v>
                </c:pt>
                <c:pt idx="87">
                  <c:v>150150</c:v>
                </c:pt>
                <c:pt idx="88">
                  <c:v>138945</c:v>
                </c:pt>
                <c:pt idx="89">
                  <c:v>141618</c:v>
                </c:pt>
                <c:pt idx="90">
                  <c:v>137152</c:v>
                </c:pt>
                <c:pt idx="91">
                  <c:v>153264</c:v>
                </c:pt>
                <c:pt idx="92">
                  <c:v>138757</c:v>
                </c:pt>
                <c:pt idx="93">
                  <c:v>142579</c:v>
                </c:pt>
                <c:pt idx="94">
                  <c:v>138356</c:v>
                </c:pt>
                <c:pt idx="95">
                  <c:v>144237</c:v>
                </c:pt>
                <c:pt idx="96">
                  <c:v>147883</c:v>
                </c:pt>
                <c:pt idx="97">
                  <c:v>141091</c:v>
                </c:pt>
                <c:pt idx="98">
                  <c:v>138526</c:v>
                </c:pt>
                <c:pt idx="99">
                  <c:v>127713</c:v>
                </c:pt>
                <c:pt idx="100">
                  <c:v>148015</c:v>
                </c:pt>
                <c:pt idx="101">
                  <c:v>121691</c:v>
                </c:pt>
                <c:pt idx="102">
                  <c:v>112070</c:v>
                </c:pt>
                <c:pt idx="103">
                  <c:v>96392</c:v>
                </c:pt>
                <c:pt idx="104">
                  <c:v>100237</c:v>
                </c:pt>
                <c:pt idx="105">
                  <c:v>90398</c:v>
                </c:pt>
                <c:pt idx="106">
                  <c:v>110044</c:v>
                </c:pt>
                <c:pt idx="107">
                  <c:v>13731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930</c:v>
                </c:pt>
                <c:pt idx="1">
                  <c:v>73393</c:v>
                </c:pt>
                <c:pt idx="2">
                  <c:v>79305</c:v>
                </c:pt>
                <c:pt idx="3">
                  <c:v>79940</c:v>
                </c:pt>
                <c:pt idx="4">
                  <c:v>84150</c:v>
                </c:pt>
                <c:pt idx="5">
                  <c:v>83718</c:v>
                </c:pt>
                <c:pt idx="6">
                  <c:v>78015</c:v>
                </c:pt>
                <c:pt idx="7">
                  <c:v>80472</c:v>
                </c:pt>
                <c:pt idx="8">
                  <c:v>79722</c:v>
                </c:pt>
                <c:pt idx="9">
                  <c:v>74442</c:v>
                </c:pt>
                <c:pt idx="10">
                  <c:v>61024</c:v>
                </c:pt>
                <c:pt idx="11">
                  <c:v>52850</c:v>
                </c:pt>
                <c:pt idx="12">
                  <c:v>44111</c:v>
                </c:pt>
                <c:pt idx="13">
                  <c:v>39080</c:v>
                </c:pt>
                <c:pt idx="14">
                  <c:v>44529</c:v>
                </c:pt>
                <c:pt idx="15">
                  <c:v>90774</c:v>
                </c:pt>
                <c:pt idx="16">
                  <c:v>121806</c:v>
                </c:pt>
                <c:pt idx="17">
                  <c:v>135830</c:v>
                </c:pt>
                <c:pt idx="18">
                  <c:v>129118</c:v>
                </c:pt>
                <c:pt idx="19">
                  <c:v>126584</c:v>
                </c:pt>
                <c:pt idx="20">
                  <c:v>132466</c:v>
                </c:pt>
                <c:pt idx="21">
                  <c:v>139327</c:v>
                </c:pt>
                <c:pt idx="22">
                  <c:v>139398</c:v>
                </c:pt>
                <c:pt idx="23">
                  <c:v>135765</c:v>
                </c:pt>
                <c:pt idx="24">
                  <c:v>133109</c:v>
                </c:pt>
                <c:pt idx="25">
                  <c:v>138985</c:v>
                </c:pt>
                <c:pt idx="26">
                  <c:v>143548</c:v>
                </c:pt>
                <c:pt idx="27">
                  <c:v>143210</c:v>
                </c:pt>
                <c:pt idx="28">
                  <c:v>141768</c:v>
                </c:pt>
                <c:pt idx="29">
                  <c:v>140657</c:v>
                </c:pt>
                <c:pt idx="30">
                  <c:v>154059</c:v>
                </c:pt>
                <c:pt idx="31">
                  <c:v>146451</c:v>
                </c:pt>
                <c:pt idx="32">
                  <c:v>145451</c:v>
                </c:pt>
                <c:pt idx="33">
                  <c:v>142098</c:v>
                </c:pt>
                <c:pt idx="34">
                  <c:v>146873</c:v>
                </c:pt>
                <c:pt idx="35">
                  <c:v>144018</c:v>
                </c:pt>
                <c:pt idx="36">
                  <c:v>134527</c:v>
                </c:pt>
                <c:pt idx="37">
                  <c:v>136966</c:v>
                </c:pt>
                <c:pt idx="38">
                  <c:v>137913</c:v>
                </c:pt>
                <c:pt idx="39">
                  <c:v>145044</c:v>
                </c:pt>
                <c:pt idx="40">
                  <c:v>137568</c:v>
                </c:pt>
                <c:pt idx="41">
                  <c:v>137223</c:v>
                </c:pt>
                <c:pt idx="42">
                  <c:v>137686</c:v>
                </c:pt>
                <c:pt idx="43">
                  <c:v>144011</c:v>
                </c:pt>
                <c:pt idx="44">
                  <c:v>147517</c:v>
                </c:pt>
                <c:pt idx="45">
                  <c:v>139441</c:v>
                </c:pt>
                <c:pt idx="46">
                  <c:v>132817</c:v>
                </c:pt>
                <c:pt idx="47">
                  <c:v>146201</c:v>
                </c:pt>
                <c:pt idx="48">
                  <c:v>151645</c:v>
                </c:pt>
                <c:pt idx="49">
                  <c:v>147512</c:v>
                </c:pt>
                <c:pt idx="50">
                  <c:v>168850</c:v>
                </c:pt>
                <c:pt idx="51">
                  <c:v>128390</c:v>
                </c:pt>
                <c:pt idx="52">
                  <c:v>148440</c:v>
                </c:pt>
                <c:pt idx="53">
                  <c:v>140232</c:v>
                </c:pt>
                <c:pt idx="54">
                  <c:v>131335</c:v>
                </c:pt>
                <c:pt idx="55">
                  <c:v>135513</c:v>
                </c:pt>
                <c:pt idx="56">
                  <c:v>139179</c:v>
                </c:pt>
                <c:pt idx="57">
                  <c:v>141257</c:v>
                </c:pt>
                <c:pt idx="58">
                  <c:v>133755</c:v>
                </c:pt>
                <c:pt idx="59">
                  <c:v>141741</c:v>
                </c:pt>
                <c:pt idx="60">
                  <c:v>148240</c:v>
                </c:pt>
                <c:pt idx="61">
                  <c:v>149187</c:v>
                </c:pt>
                <c:pt idx="62">
                  <c:v>142827</c:v>
                </c:pt>
                <c:pt idx="63">
                  <c:v>135173</c:v>
                </c:pt>
                <c:pt idx="64">
                  <c:v>139654</c:v>
                </c:pt>
                <c:pt idx="65">
                  <c:v>145941</c:v>
                </c:pt>
                <c:pt idx="66">
                  <c:v>145248</c:v>
                </c:pt>
                <c:pt idx="67">
                  <c:v>144993</c:v>
                </c:pt>
                <c:pt idx="68">
                  <c:v>140858</c:v>
                </c:pt>
                <c:pt idx="69">
                  <c:v>150675</c:v>
                </c:pt>
                <c:pt idx="70">
                  <c:v>146929</c:v>
                </c:pt>
                <c:pt idx="71">
                  <c:v>135844</c:v>
                </c:pt>
                <c:pt idx="72">
                  <c:v>145318</c:v>
                </c:pt>
                <c:pt idx="73">
                  <c:v>140744</c:v>
                </c:pt>
                <c:pt idx="74">
                  <c:v>156460</c:v>
                </c:pt>
                <c:pt idx="75">
                  <c:v>145879</c:v>
                </c:pt>
                <c:pt idx="76">
                  <c:v>146688</c:v>
                </c:pt>
                <c:pt idx="77">
                  <c:v>147352</c:v>
                </c:pt>
                <c:pt idx="78">
                  <c:v>160156</c:v>
                </c:pt>
                <c:pt idx="79">
                  <c:v>147695</c:v>
                </c:pt>
                <c:pt idx="80">
                  <c:v>149710</c:v>
                </c:pt>
                <c:pt idx="81">
                  <c:v>147080</c:v>
                </c:pt>
                <c:pt idx="82">
                  <c:v>155199</c:v>
                </c:pt>
                <c:pt idx="83">
                  <c:v>150090</c:v>
                </c:pt>
                <c:pt idx="84">
                  <c:v>149470</c:v>
                </c:pt>
                <c:pt idx="85">
                  <c:v>147197</c:v>
                </c:pt>
                <c:pt idx="86">
                  <c:v>149161</c:v>
                </c:pt>
                <c:pt idx="87">
                  <c:v>151565</c:v>
                </c:pt>
                <c:pt idx="88">
                  <c:v>140047</c:v>
                </c:pt>
                <c:pt idx="89">
                  <c:v>142901</c:v>
                </c:pt>
                <c:pt idx="90">
                  <c:v>138274</c:v>
                </c:pt>
                <c:pt idx="91">
                  <c:v>154459</c:v>
                </c:pt>
                <c:pt idx="92">
                  <c:v>140004</c:v>
                </c:pt>
                <c:pt idx="93">
                  <c:v>144007</c:v>
                </c:pt>
                <c:pt idx="94">
                  <c:v>139215</c:v>
                </c:pt>
                <c:pt idx="95">
                  <c:v>145436</c:v>
                </c:pt>
                <c:pt idx="96">
                  <c:v>148988</c:v>
                </c:pt>
                <c:pt idx="97">
                  <c:v>142025</c:v>
                </c:pt>
                <c:pt idx="98">
                  <c:v>139643</c:v>
                </c:pt>
                <c:pt idx="99">
                  <c:v>128609</c:v>
                </c:pt>
                <c:pt idx="100">
                  <c:v>149318</c:v>
                </c:pt>
                <c:pt idx="101">
                  <c:v>148230</c:v>
                </c:pt>
                <c:pt idx="102">
                  <c:v>147878</c:v>
                </c:pt>
                <c:pt idx="103">
                  <c:v>117792</c:v>
                </c:pt>
                <c:pt idx="104">
                  <c:v>123870</c:v>
                </c:pt>
                <c:pt idx="105">
                  <c:v>102770</c:v>
                </c:pt>
                <c:pt idx="106">
                  <c:v>115787</c:v>
                </c:pt>
                <c:pt idx="107">
                  <c:v>13991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7236</c:v>
                </c:pt>
                <c:pt idx="1">
                  <c:v>78613</c:v>
                </c:pt>
                <c:pt idx="2">
                  <c:v>79533</c:v>
                </c:pt>
                <c:pt idx="3">
                  <c:v>79318</c:v>
                </c:pt>
                <c:pt idx="4">
                  <c:v>79529</c:v>
                </c:pt>
                <c:pt idx="5">
                  <c:v>79982</c:v>
                </c:pt>
                <c:pt idx="6">
                  <c:v>80177</c:v>
                </c:pt>
                <c:pt idx="7">
                  <c:v>77830</c:v>
                </c:pt>
                <c:pt idx="8">
                  <c:v>74415</c:v>
                </c:pt>
                <c:pt idx="9">
                  <c:v>69380</c:v>
                </c:pt>
                <c:pt idx="10">
                  <c:v>63798</c:v>
                </c:pt>
                <c:pt idx="11">
                  <c:v>58533</c:v>
                </c:pt>
                <c:pt idx="12">
                  <c:v>51911</c:v>
                </c:pt>
                <c:pt idx="13">
                  <c:v>43709</c:v>
                </c:pt>
                <c:pt idx="14">
                  <c:v>119253</c:v>
                </c:pt>
                <c:pt idx="15">
                  <c:v>120425</c:v>
                </c:pt>
                <c:pt idx="16">
                  <c:v>112969</c:v>
                </c:pt>
                <c:pt idx="17">
                  <c:v>114694</c:v>
                </c:pt>
                <c:pt idx="18">
                  <c:v>115231</c:v>
                </c:pt>
                <c:pt idx="19">
                  <c:v>128001</c:v>
                </c:pt>
                <c:pt idx="20">
                  <c:v>133962</c:v>
                </c:pt>
                <c:pt idx="21">
                  <c:v>134876</c:v>
                </c:pt>
                <c:pt idx="22">
                  <c:v>134948</c:v>
                </c:pt>
                <c:pt idx="23">
                  <c:v>136783</c:v>
                </c:pt>
                <c:pt idx="24">
                  <c:v>139015</c:v>
                </c:pt>
                <c:pt idx="25">
                  <c:v>139693</c:v>
                </c:pt>
                <c:pt idx="26">
                  <c:v>139584</c:v>
                </c:pt>
                <c:pt idx="27">
                  <c:v>141480</c:v>
                </c:pt>
                <c:pt idx="28">
                  <c:v>142873</c:v>
                </c:pt>
                <c:pt idx="29">
                  <c:v>144414</c:v>
                </c:pt>
                <c:pt idx="30">
                  <c:v>144787</c:v>
                </c:pt>
                <c:pt idx="31">
                  <c:v>145203</c:v>
                </c:pt>
                <c:pt idx="32">
                  <c:v>145308</c:v>
                </c:pt>
                <c:pt idx="33">
                  <c:v>144386</c:v>
                </c:pt>
                <c:pt idx="34">
                  <c:v>143921</c:v>
                </c:pt>
                <c:pt idx="35">
                  <c:v>141901</c:v>
                </c:pt>
                <c:pt idx="36">
                  <c:v>141762</c:v>
                </c:pt>
                <c:pt idx="37">
                  <c:v>140782</c:v>
                </c:pt>
                <c:pt idx="38">
                  <c:v>140190</c:v>
                </c:pt>
                <c:pt idx="39">
                  <c:v>139074</c:v>
                </c:pt>
                <c:pt idx="40">
                  <c:v>139117</c:v>
                </c:pt>
                <c:pt idx="41">
                  <c:v>140728</c:v>
                </c:pt>
                <c:pt idx="42">
                  <c:v>141065</c:v>
                </c:pt>
                <c:pt idx="43">
                  <c:v>140443</c:v>
                </c:pt>
                <c:pt idx="44">
                  <c:v>140585</c:v>
                </c:pt>
                <c:pt idx="45">
                  <c:v>142346</c:v>
                </c:pt>
                <c:pt idx="46">
                  <c:v>143572</c:v>
                </c:pt>
                <c:pt idx="47">
                  <c:v>147524</c:v>
                </c:pt>
                <c:pt idx="48">
                  <c:v>145560</c:v>
                </c:pt>
                <c:pt idx="49">
                  <c:v>145571</c:v>
                </c:pt>
                <c:pt idx="50">
                  <c:v>145662</c:v>
                </c:pt>
                <c:pt idx="51">
                  <c:v>145456</c:v>
                </c:pt>
                <c:pt idx="52">
                  <c:v>144107</c:v>
                </c:pt>
                <c:pt idx="53">
                  <c:v>142548</c:v>
                </c:pt>
                <c:pt idx="54">
                  <c:v>141814</c:v>
                </c:pt>
                <c:pt idx="55">
                  <c:v>137429</c:v>
                </c:pt>
                <c:pt idx="56">
                  <c:v>139100</c:v>
                </c:pt>
                <c:pt idx="57">
                  <c:v>139064</c:v>
                </c:pt>
                <c:pt idx="58">
                  <c:v>140142</c:v>
                </c:pt>
                <c:pt idx="59">
                  <c:v>141599</c:v>
                </c:pt>
                <c:pt idx="60">
                  <c:v>141576</c:v>
                </c:pt>
                <c:pt idx="61">
                  <c:v>141624</c:v>
                </c:pt>
                <c:pt idx="62">
                  <c:v>142162</c:v>
                </c:pt>
                <c:pt idx="63">
                  <c:v>143608</c:v>
                </c:pt>
                <c:pt idx="64">
                  <c:v>143990</c:v>
                </c:pt>
                <c:pt idx="65">
                  <c:v>143048</c:v>
                </c:pt>
                <c:pt idx="66">
                  <c:v>143267</c:v>
                </c:pt>
                <c:pt idx="67">
                  <c:v>143771</c:v>
                </c:pt>
                <c:pt idx="68">
                  <c:v>143803</c:v>
                </c:pt>
                <c:pt idx="69">
                  <c:v>144509</c:v>
                </c:pt>
                <c:pt idx="70">
                  <c:v>143862</c:v>
                </c:pt>
                <c:pt idx="71">
                  <c:v>145286</c:v>
                </c:pt>
                <c:pt idx="72">
                  <c:v>145455</c:v>
                </c:pt>
                <c:pt idx="73">
                  <c:v>146141</c:v>
                </c:pt>
                <c:pt idx="74">
                  <c:v>145740</c:v>
                </c:pt>
                <c:pt idx="75">
                  <c:v>147390</c:v>
                </c:pt>
                <c:pt idx="76">
                  <c:v>148888</c:v>
                </c:pt>
                <c:pt idx="77">
                  <c:v>149442</c:v>
                </c:pt>
                <c:pt idx="78">
                  <c:v>150239</c:v>
                </c:pt>
                <c:pt idx="79">
                  <c:v>150105</c:v>
                </c:pt>
                <c:pt idx="80">
                  <c:v>150628</c:v>
                </c:pt>
                <c:pt idx="81">
                  <c:v>150945</c:v>
                </c:pt>
                <c:pt idx="82">
                  <c:v>150919</c:v>
                </c:pt>
                <c:pt idx="83">
                  <c:v>149537</c:v>
                </c:pt>
                <c:pt idx="84">
                  <c:v>150014</c:v>
                </c:pt>
                <c:pt idx="85">
                  <c:v>148860</c:v>
                </c:pt>
                <c:pt idx="86">
                  <c:v>148304</c:v>
                </c:pt>
                <c:pt idx="87">
                  <c:v>146146</c:v>
                </c:pt>
                <c:pt idx="88">
                  <c:v>146735</c:v>
                </c:pt>
                <c:pt idx="89">
                  <c:v>145533</c:v>
                </c:pt>
                <c:pt idx="90">
                  <c:v>145148</c:v>
                </c:pt>
                <c:pt idx="91">
                  <c:v>143910</c:v>
                </c:pt>
                <c:pt idx="92">
                  <c:v>143152</c:v>
                </c:pt>
                <c:pt idx="93">
                  <c:v>144240</c:v>
                </c:pt>
                <c:pt idx="94">
                  <c:v>144099</c:v>
                </c:pt>
                <c:pt idx="95">
                  <c:v>144279</c:v>
                </c:pt>
                <c:pt idx="96">
                  <c:v>171892</c:v>
                </c:pt>
                <c:pt idx="97">
                  <c:v>142249</c:v>
                </c:pt>
                <c:pt idx="98">
                  <c:v>141951</c:v>
                </c:pt>
                <c:pt idx="99">
                  <c:v>142311</c:v>
                </c:pt>
                <c:pt idx="100">
                  <c:v>139745</c:v>
                </c:pt>
                <c:pt idx="101">
                  <c:v>140859</c:v>
                </c:pt>
                <c:pt idx="102">
                  <c:v>140635</c:v>
                </c:pt>
                <c:pt idx="103">
                  <c:v>133781</c:v>
                </c:pt>
                <c:pt idx="104">
                  <c:v>133302</c:v>
                </c:pt>
                <c:pt idx="105">
                  <c:v>115108</c:v>
                </c:pt>
                <c:pt idx="106">
                  <c:v>144871</c:v>
                </c:pt>
                <c:pt idx="107">
                  <c:v>14008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01</c:v>
                </c:pt>
                <c:pt idx="6">
                  <c:v>0.01</c:v>
                </c:pt>
                <c:pt idx="7">
                  <c:v>0</c:v>
                </c:pt>
                <c:pt idx="8">
                  <c:v>0.01</c:v>
                </c:pt>
                <c:pt idx="9">
                  <c:v>0.01</c:v>
                </c:pt>
                <c:pt idx="10">
                  <c:v>0.01</c:v>
                </c:pt>
                <c:pt idx="11">
                  <c:v>0.01</c:v>
                </c:pt>
                <c:pt idx="12">
                  <c:v>0.01</c:v>
                </c:pt>
                <c:pt idx="13">
                  <c:v>0.01</c:v>
                </c:pt>
                <c:pt idx="14">
                  <c:v>0.47</c:v>
                </c:pt>
                <c:pt idx="15">
                  <c:v>0.32</c:v>
                </c:pt>
                <c:pt idx="16">
                  <c:v>0.13</c:v>
                </c:pt>
                <c:pt idx="17">
                  <c:v>0.1</c:v>
                </c:pt>
                <c:pt idx="18">
                  <c:v>7.0000000000000007E-2</c:v>
                </c:pt>
                <c:pt idx="19">
                  <c:v>0.05</c:v>
                </c:pt>
                <c:pt idx="20">
                  <c:v>0.04</c:v>
                </c:pt>
                <c:pt idx="21">
                  <c:v>0.03</c:v>
                </c:pt>
                <c:pt idx="22">
                  <c:v>0.03</c:v>
                </c:pt>
                <c:pt idx="23">
                  <c:v>0.02</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1</c:v>
                </c:pt>
                <c:pt idx="46">
                  <c:v>0.01</c:v>
                </c:pt>
                <c:pt idx="47">
                  <c:v>0.01</c:v>
                </c:pt>
                <c:pt idx="48">
                  <c:v>0.02</c:v>
                </c:pt>
                <c:pt idx="49">
                  <c:v>0.01</c:v>
                </c:pt>
                <c:pt idx="50">
                  <c:v>0.01</c:v>
                </c:pt>
                <c:pt idx="51">
                  <c:v>0.01</c:v>
                </c:pt>
                <c:pt idx="52">
                  <c:v>0.01</c:v>
                </c:pt>
                <c:pt idx="53">
                  <c:v>0.01</c:v>
                </c:pt>
                <c:pt idx="54">
                  <c:v>0.01</c:v>
                </c:pt>
                <c:pt idx="55">
                  <c:v>0.01</c:v>
                </c:pt>
                <c:pt idx="56">
                  <c:v>0.01</c:v>
                </c:pt>
                <c:pt idx="57">
                  <c:v>0.01</c:v>
                </c:pt>
                <c:pt idx="58">
                  <c:v>0.01</c:v>
                </c:pt>
                <c:pt idx="59">
                  <c:v>0.02</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4</c:v>
                </c:pt>
                <c:pt idx="102">
                  <c:v>0.34</c:v>
                </c:pt>
                <c:pt idx="103">
                  <c:v>0.26</c:v>
                </c:pt>
                <c:pt idx="104">
                  <c:v>0.33</c:v>
                </c:pt>
                <c:pt idx="105">
                  <c:v>0.27</c:v>
                </c:pt>
                <c:pt idx="106">
                  <c:v>0.12</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87</c:v>
                </c:pt>
                <c:pt idx="1">
                  <c:v>0</c:v>
                </c:pt>
                <c:pt idx="2">
                  <c:v>0</c:v>
                </c:pt>
                <c:pt idx="3">
                  <c:v>13</c:v>
                </c:pt>
                <c:pt idx="4">
                  <c:v>0</c:v>
                </c:pt>
                <c:pt idx="5">
                  <c:v>120</c:v>
                </c:pt>
                <c:pt idx="6">
                  <c:v>252</c:v>
                </c:pt>
                <c:pt idx="7">
                  <c:v>226</c:v>
                </c:pt>
                <c:pt idx="8">
                  <c:v>51</c:v>
                </c:pt>
                <c:pt idx="9">
                  <c:v>70</c:v>
                </c:pt>
                <c:pt idx="10">
                  <c:v>190</c:v>
                </c:pt>
                <c:pt idx="11">
                  <c:v>193</c:v>
                </c:pt>
                <c:pt idx="12">
                  <c:v>136</c:v>
                </c:pt>
                <c:pt idx="13">
                  <c:v>167</c:v>
                </c:pt>
                <c:pt idx="14">
                  <c:v>153</c:v>
                </c:pt>
                <c:pt idx="15">
                  <c:v>162</c:v>
                </c:pt>
                <c:pt idx="16">
                  <c:v>148</c:v>
                </c:pt>
                <c:pt idx="17">
                  <c:v>231</c:v>
                </c:pt>
                <c:pt idx="18">
                  <c:v>177</c:v>
                </c:pt>
                <c:pt idx="19">
                  <c:v>147</c:v>
                </c:pt>
                <c:pt idx="20">
                  <c:v>305</c:v>
                </c:pt>
                <c:pt idx="21">
                  <c:v>160</c:v>
                </c:pt>
                <c:pt idx="22">
                  <c:v>298</c:v>
                </c:pt>
                <c:pt idx="23">
                  <c:v>249</c:v>
                </c:pt>
                <c:pt idx="24">
                  <c:v>104</c:v>
                </c:pt>
                <c:pt idx="25">
                  <c:v>268</c:v>
                </c:pt>
                <c:pt idx="26">
                  <c:v>437</c:v>
                </c:pt>
                <c:pt idx="27">
                  <c:v>193</c:v>
                </c:pt>
                <c:pt idx="28">
                  <c:v>217</c:v>
                </c:pt>
                <c:pt idx="29">
                  <c:v>129</c:v>
                </c:pt>
                <c:pt idx="30">
                  <c:v>136</c:v>
                </c:pt>
                <c:pt idx="31">
                  <c:v>216</c:v>
                </c:pt>
                <c:pt idx="32">
                  <c:v>226</c:v>
                </c:pt>
                <c:pt idx="33">
                  <c:v>103</c:v>
                </c:pt>
                <c:pt idx="34">
                  <c:v>137</c:v>
                </c:pt>
                <c:pt idx="35">
                  <c:v>45</c:v>
                </c:pt>
                <c:pt idx="36">
                  <c:v>249</c:v>
                </c:pt>
                <c:pt idx="37">
                  <c:v>171</c:v>
                </c:pt>
                <c:pt idx="38">
                  <c:v>170</c:v>
                </c:pt>
                <c:pt idx="39">
                  <c:v>294</c:v>
                </c:pt>
                <c:pt idx="40">
                  <c:v>237</c:v>
                </c:pt>
                <c:pt idx="41">
                  <c:v>142</c:v>
                </c:pt>
                <c:pt idx="42">
                  <c:v>240</c:v>
                </c:pt>
                <c:pt idx="43">
                  <c:v>8</c:v>
                </c:pt>
                <c:pt idx="44">
                  <c:v>0</c:v>
                </c:pt>
                <c:pt idx="45">
                  <c:v>34</c:v>
                </c:pt>
                <c:pt idx="46">
                  <c:v>0</c:v>
                </c:pt>
                <c:pt idx="47">
                  <c:v>0</c:v>
                </c:pt>
                <c:pt idx="48">
                  <c:v>0</c:v>
                </c:pt>
                <c:pt idx="49">
                  <c:v>2398</c:v>
                </c:pt>
                <c:pt idx="50">
                  <c:v>4633</c:v>
                </c:pt>
                <c:pt idx="51">
                  <c:v>3451</c:v>
                </c:pt>
                <c:pt idx="52">
                  <c:v>2956</c:v>
                </c:pt>
                <c:pt idx="53">
                  <c:v>6004</c:v>
                </c:pt>
                <c:pt idx="54">
                  <c:v>4692</c:v>
                </c:pt>
                <c:pt idx="55">
                  <c:v>3709</c:v>
                </c:pt>
                <c:pt idx="56">
                  <c:v>1596</c:v>
                </c:pt>
                <c:pt idx="57">
                  <c:v>1103</c:v>
                </c:pt>
                <c:pt idx="58">
                  <c:v>569</c:v>
                </c:pt>
                <c:pt idx="59">
                  <c:v>540</c:v>
                </c:pt>
                <c:pt idx="60">
                  <c:v>475</c:v>
                </c:pt>
                <c:pt idx="61">
                  <c:v>136</c:v>
                </c:pt>
                <c:pt idx="62">
                  <c:v>133</c:v>
                </c:pt>
                <c:pt idx="63">
                  <c:v>138</c:v>
                </c:pt>
                <c:pt idx="64">
                  <c:v>66</c:v>
                </c:pt>
                <c:pt idx="65">
                  <c:v>10</c:v>
                </c:pt>
                <c:pt idx="66">
                  <c:v>27</c:v>
                </c:pt>
                <c:pt idx="67">
                  <c:v>23</c:v>
                </c:pt>
                <c:pt idx="68">
                  <c:v>41</c:v>
                </c:pt>
                <c:pt idx="69">
                  <c:v>5</c:v>
                </c:pt>
                <c:pt idx="70">
                  <c:v>3</c:v>
                </c:pt>
                <c:pt idx="71">
                  <c:v>22</c:v>
                </c:pt>
                <c:pt idx="72">
                  <c:v>66</c:v>
                </c:pt>
                <c:pt idx="73">
                  <c:v>0</c:v>
                </c:pt>
                <c:pt idx="74">
                  <c:v>0</c:v>
                </c:pt>
                <c:pt idx="75">
                  <c:v>38</c:v>
                </c:pt>
                <c:pt idx="76">
                  <c:v>8</c:v>
                </c:pt>
                <c:pt idx="77">
                  <c:v>12</c:v>
                </c:pt>
                <c:pt idx="78">
                  <c:v>35</c:v>
                </c:pt>
                <c:pt idx="79">
                  <c:v>52</c:v>
                </c:pt>
                <c:pt idx="80">
                  <c:v>30</c:v>
                </c:pt>
                <c:pt idx="81">
                  <c:v>4</c:v>
                </c:pt>
                <c:pt idx="82">
                  <c:v>6</c:v>
                </c:pt>
                <c:pt idx="83">
                  <c:v>4</c:v>
                </c:pt>
                <c:pt idx="84">
                  <c:v>0</c:v>
                </c:pt>
                <c:pt idx="85">
                  <c:v>0</c:v>
                </c:pt>
                <c:pt idx="86">
                  <c:v>0</c:v>
                </c:pt>
                <c:pt idx="87">
                  <c:v>0</c:v>
                </c:pt>
                <c:pt idx="88">
                  <c:v>0</c:v>
                </c:pt>
                <c:pt idx="89">
                  <c:v>0</c:v>
                </c:pt>
                <c:pt idx="90">
                  <c:v>19</c:v>
                </c:pt>
                <c:pt idx="91">
                  <c:v>0</c:v>
                </c:pt>
                <c:pt idx="92">
                  <c:v>12</c:v>
                </c:pt>
                <c:pt idx="93">
                  <c:v>3</c:v>
                </c:pt>
                <c:pt idx="94">
                  <c:v>15</c:v>
                </c:pt>
                <c:pt idx="95">
                  <c:v>0</c:v>
                </c:pt>
                <c:pt idx="96">
                  <c:v>10</c:v>
                </c:pt>
                <c:pt idx="97">
                  <c:v>0</c:v>
                </c:pt>
                <c:pt idx="98">
                  <c:v>0</c:v>
                </c:pt>
                <c:pt idx="99">
                  <c:v>0</c:v>
                </c:pt>
                <c:pt idx="100">
                  <c:v>6</c:v>
                </c:pt>
                <c:pt idx="101">
                  <c:v>6</c:v>
                </c:pt>
                <c:pt idx="102">
                  <c:v>0</c:v>
                </c:pt>
                <c:pt idx="103">
                  <c:v>0</c:v>
                </c:pt>
                <c:pt idx="104">
                  <c:v>0</c:v>
                </c:pt>
                <c:pt idx="105">
                  <c:v>10</c:v>
                </c:pt>
                <c:pt idx="106">
                  <c:v>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248</c:v>
                </c:pt>
                <c:pt idx="1">
                  <c:v>547</c:v>
                </c:pt>
                <c:pt idx="2">
                  <c:v>1108</c:v>
                </c:pt>
                <c:pt idx="3">
                  <c:v>1572</c:v>
                </c:pt>
                <c:pt idx="4">
                  <c:v>1677</c:v>
                </c:pt>
                <c:pt idx="5">
                  <c:v>2404</c:v>
                </c:pt>
                <c:pt idx="6">
                  <c:v>2232</c:v>
                </c:pt>
                <c:pt idx="7">
                  <c:v>2490</c:v>
                </c:pt>
                <c:pt idx="8">
                  <c:v>2944</c:v>
                </c:pt>
                <c:pt idx="9">
                  <c:v>2868</c:v>
                </c:pt>
                <c:pt idx="10">
                  <c:v>2827</c:v>
                </c:pt>
                <c:pt idx="11">
                  <c:v>2642</c:v>
                </c:pt>
                <c:pt idx="12">
                  <c:v>2803</c:v>
                </c:pt>
                <c:pt idx="13">
                  <c:v>3447</c:v>
                </c:pt>
                <c:pt idx="14">
                  <c:v>3865</c:v>
                </c:pt>
                <c:pt idx="15">
                  <c:v>3546</c:v>
                </c:pt>
                <c:pt idx="16">
                  <c:v>3847</c:v>
                </c:pt>
                <c:pt idx="17">
                  <c:v>4124</c:v>
                </c:pt>
                <c:pt idx="18">
                  <c:v>3727</c:v>
                </c:pt>
                <c:pt idx="19">
                  <c:v>3304</c:v>
                </c:pt>
                <c:pt idx="20">
                  <c:v>4005</c:v>
                </c:pt>
                <c:pt idx="21">
                  <c:v>4328</c:v>
                </c:pt>
                <c:pt idx="22">
                  <c:v>4533</c:v>
                </c:pt>
                <c:pt idx="23">
                  <c:v>4356</c:v>
                </c:pt>
                <c:pt idx="24">
                  <c:v>4783</c:v>
                </c:pt>
                <c:pt idx="25">
                  <c:v>4509</c:v>
                </c:pt>
                <c:pt idx="26">
                  <c:v>4622</c:v>
                </c:pt>
                <c:pt idx="27">
                  <c:v>4877</c:v>
                </c:pt>
                <c:pt idx="28">
                  <c:v>4966</c:v>
                </c:pt>
                <c:pt idx="29">
                  <c:v>5045</c:v>
                </c:pt>
                <c:pt idx="30">
                  <c:v>5151</c:v>
                </c:pt>
                <c:pt idx="31">
                  <c:v>5202</c:v>
                </c:pt>
                <c:pt idx="32">
                  <c:v>5709</c:v>
                </c:pt>
                <c:pt idx="33">
                  <c:v>5340</c:v>
                </c:pt>
                <c:pt idx="34">
                  <c:v>5094</c:v>
                </c:pt>
                <c:pt idx="35">
                  <c:v>4971</c:v>
                </c:pt>
                <c:pt idx="36">
                  <c:v>5324</c:v>
                </c:pt>
                <c:pt idx="37">
                  <c:v>5064</c:v>
                </c:pt>
                <c:pt idx="38">
                  <c:v>5164</c:v>
                </c:pt>
                <c:pt idx="39">
                  <c:v>5525</c:v>
                </c:pt>
                <c:pt idx="40">
                  <c:v>5695</c:v>
                </c:pt>
                <c:pt idx="41">
                  <c:v>5681</c:v>
                </c:pt>
                <c:pt idx="42">
                  <c:v>5032</c:v>
                </c:pt>
                <c:pt idx="43">
                  <c:v>5829</c:v>
                </c:pt>
                <c:pt idx="44">
                  <c:v>5865</c:v>
                </c:pt>
                <c:pt idx="45">
                  <c:v>5724</c:v>
                </c:pt>
                <c:pt idx="46">
                  <c:v>5072</c:v>
                </c:pt>
                <c:pt idx="47">
                  <c:v>5393</c:v>
                </c:pt>
                <c:pt idx="48">
                  <c:v>5595</c:v>
                </c:pt>
                <c:pt idx="49">
                  <c:v>3291</c:v>
                </c:pt>
                <c:pt idx="50">
                  <c:v>1821</c:v>
                </c:pt>
                <c:pt idx="51">
                  <c:v>1097</c:v>
                </c:pt>
                <c:pt idx="52">
                  <c:v>857</c:v>
                </c:pt>
                <c:pt idx="53">
                  <c:v>859</c:v>
                </c:pt>
                <c:pt idx="54">
                  <c:v>373</c:v>
                </c:pt>
                <c:pt idx="55">
                  <c:v>199</c:v>
                </c:pt>
                <c:pt idx="56">
                  <c:v>169</c:v>
                </c:pt>
                <c:pt idx="57">
                  <c:v>95</c:v>
                </c:pt>
                <c:pt idx="58">
                  <c:v>155</c:v>
                </c:pt>
                <c:pt idx="59">
                  <c:v>188</c:v>
                </c:pt>
                <c:pt idx="60">
                  <c:v>228</c:v>
                </c:pt>
                <c:pt idx="61">
                  <c:v>224</c:v>
                </c:pt>
                <c:pt idx="62">
                  <c:v>204</c:v>
                </c:pt>
                <c:pt idx="63">
                  <c:v>88</c:v>
                </c:pt>
                <c:pt idx="64">
                  <c:v>218</c:v>
                </c:pt>
                <c:pt idx="65">
                  <c:v>65</c:v>
                </c:pt>
                <c:pt idx="66">
                  <c:v>113</c:v>
                </c:pt>
                <c:pt idx="67">
                  <c:v>94</c:v>
                </c:pt>
                <c:pt idx="68">
                  <c:v>68</c:v>
                </c:pt>
                <c:pt idx="69">
                  <c:v>139</c:v>
                </c:pt>
                <c:pt idx="70">
                  <c:v>35</c:v>
                </c:pt>
                <c:pt idx="71">
                  <c:v>37</c:v>
                </c:pt>
                <c:pt idx="72">
                  <c:v>92</c:v>
                </c:pt>
                <c:pt idx="73">
                  <c:v>65</c:v>
                </c:pt>
                <c:pt idx="74">
                  <c:v>87</c:v>
                </c:pt>
                <c:pt idx="75">
                  <c:v>66</c:v>
                </c:pt>
                <c:pt idx="76">
                  <c:v>50</c:v>
                </c:pt>
                <c:pt idx="77">
                  <c:v>57</c:v>
                </c:pt>
                <c:pt idx="78">
                  <c:v>19</c:v>
                </c:pt>
                <c:pt idx="79">
                  <c:v>24</c:v>
                </c:pt>
                <c:pt idx="80">
                  <c:v>25</c:v>
                </c:pt>
                <c:pt idx="81">
                  <c:v>13</c:v>
                </c:pt>
                <c:pt idx="82">
                  <c:v>22</c:v>
                </c:pt>
                <c:pt idx="83">
                  <c:v>40</c:v>
                </c:pt>
                <c:pt idx="84">
                  <c:v>7</c:v>
                </c:pt>
                <c:pt idx="85">
                  <c:v>54</c:v>
                </c:pt>
                <c:pt idx="86">
                  <c:v>8</c:v>
                </c:pt>
                <c:pt idx="87">
                  <c:v>62</c:v>
                </c:pt>
                <c:pt idx="88">
                  <c:v>40</c:v>
                </c:pt>
                <c:pt idx="89">
                  <c:v>7</c:v>
                </c:pt>
                <c:pt idx="90">
                  <c:v>22</c:v>
                </c:pt>
                <c:pt idx="91">
                  <c:v>2</c:v>
                </c:pt>
                <c:pt idx="92">
                  <c:v>0</c:v>
                </c:pt>
                <c:pt idx="93">
                  <c:v>26</c:v>
                </c:pt>
                <c:pt idx="94">
                  <c:v>12</c:v>
                </c:pt>
                <c:pt idx="95">
                  <c:v>15</c:v>
                </c:pt>
                <c:pt idx="96">
                  <c:v>6</c:v>
                </c:pt>
                <c:pt idx="97">
                  <c:v>42</c:v>
                </c:pt>
                <c:pt idx="98">
                  <c:v>8</c:v>
                </c:pt>
                <c:pt idx="99">
                  <c:v>2</c:v>
                </c:pt>
                <c:pt idx="100">
                  <c:v>46</c:v>
                </c:pt>
                <c:pt idx="101">
                  <c:v>24</c:v>
                </c:pt>
                <c:pt idx="102">
                  <c:v>50</c:v>
                </c:pt>
                <c:pt idx="103">
                  <c:v>135</c:v>
                </c:pt>
                <c:pt idx="104">
                  <c:v>296</c:v>
                </c:pt>
                <c:pt idx="105">
                  <c:v>1517</c:v>
                </c:pt>
                <c:pt idx="106">
                  <c:v>27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335</c:v>
                </c:pt>
                <c:pt idx="1">
                  <c:v>547</c:v>
                </c:pt>
                <c:pt idx="2">
                  <c:v>1108</c:v>
                </c:pt>
                <c:pt idx="3">
                  <c:v>1585</c:v>
                </c:pt>
                <c:pt idx="4">
                  <c:v>1677</c:v>
                </c:pt>
                <c:pt idx="5">
                  <c:v>2524</c:v>
                </c:pt>
                <c:pt idx="6">
                  <c:v>2484</c:v>
                </c:pt>
                <c:pt idx="7">
                  <c:v>2716</c:v>
                </c:pt>
                <c:pt idx="8">
                  <c:v>2995</c:v>
                </c:pt>
                <c:pt idx="9">
                  <c:v>2938</c:v>
                </c:pt>
                <c:pt idx="10">
                  <c:v>3017</c:v>
                </c:pt>
                <c:pt idx="11">
                  <c:v>2835</c:v>
                </c:pt>
                <c:pt idx="12">
                  <c:v>2939</c:v>
                </c:pt>
                <c:pt idx="13">
                  <c:v>3614</c:v>
                </c:pt>
                <c:pt idx="14">
                  <c:v>4018</c:v>
                </c:pt>
                <c:pt idx="15">
                  <c:v>3708</c:v>
                </c:pt>
                <c:pt idx="16">
                  <c:v>3995</c:v>
                </c:pt>
                <c:pt idx="17">
                  <c:v>4355</c:v>
                </c:pt>
                <c:pt idx="18">
                  <c:v>3904</c:v>
                </c:pt>
                <c:pt idx="19">
                  <c:v>3451</c:v>
                </c:pt>
                <c:pt idx="20">
                  <c:v>4310</c:v>
                </c:pt>
                <c:pt idx="21">
                  <c:v>4488</c:v>
                </c:pt>
                <c:pt idx="22">
                  <c:v>4831</c:v>
                </c:pt>
                <c:pt idx="23">
                  <c:v>4605</c:v>
                </c:pt>
                <c:pt idx="24">
                  <c:v>4887</c:v>
                </c:pt>
                <c:pt idx="25">
                  <c:v>4777</c:v>
                </c:pt>
                <c:pt idx="26">
                  <c:v>5059</c:v>
                </c:pt>
                <c:pt idx="27">
                  <c:v>5070</c:v>
                </c:pt>
                <c:pt idx="28">
                  <c:v>5183</c:v>
                </c:pt>
                <c:pt idx="29">
                  <c:v>5174</c:v>
                </c:pt>
                <c:pt idx="30">
                  <c:v>5287</c:v>
                </c:pt>
                <c:pt idx="31">
                  <c:v>5418</c:v>
                </c:pt>
                <c:pt idx="32">
                  <c:v>5935</c:v>
                </c:pt>
                <c:pt idx="33">
                  <c:v>5443</c:v>
                </c:pt>
                <c:pt idx="34">
                  <c:v>5231</c:v>
                </c:pt>
                <c:pt idx="35">
                  <c:v>5016</c:v>
                </c:pt>
                <c:pt idx="36">
                  <c:v>5573</c:v>
                </c:pt>
                <c:pt idx="37">
                  <c:v>5235</c:v>
                </c:pt>
                <c:pt idx="38">
                  <c:v>5334</c:v>
                </c:pt>
                <c:pt idx="39">
                  <c:v>5819</c:v>
                </c:pt>
                <c:pt idx="40">
                  <c:v>5932</c:v>
                </c:pt>
                <c:pt idx="41">
                  <c:v>5823</c:v>
                </c:pt>
                <c:pt idx="42">
                  <c:v>5272</c:v>
                </c:pt>
                <c:pt idx="43">
                  <c:v>5837</c:v>
                </c:pt>
                <c:pt idx="44">
                  <c:v>5865</c:v>
                </c:pt>
                <c:pt idx="45">
                  <c:v>5758</c:v>
                </c:pt>
                <c:pt idx="46">
                  <c:v>5072</c:v>
                </c:pt>
                <c:pt idx="47">
                  <c:v>5393</c:v>
                </c:pt>
                <c:pt idx="48">
                  <c:v>5595</c:v>
                </c:pt>
                <c:pt idx="49">
                  <c:v>5689</c:v>
                </c:pt>
                <c:pt idx="50">
                  <c:v>6454</c:v>
                </c:pt>
                <c:pt idx="51">
                  <c:v>4548</c:v>
                </c:pt>
                <c:pt idx="52">
                  <c:v>3813</c:v>
                </c:pt>
                <c:pt idx="53">
                  <c:v>6863</c:v>
                </c:pt>
                <c:pt idx="54">
                  <c:v>5065</c:v>
                </c:pt>
                <c:pt idx="55">
                  <c:v>3908</c:v>
                </c:pt>
                <c:pt idx="56">
                  <c:v>1765</c:v>
                </c:pt>
                <c:pt idx="57">
                  <c:v>1198</c:v>
                </c:pt>
                <c:pt idx="58">
                  <c:v>724</c:v>
                </c:pt>
                <c:pt idx="59">
                  <c:v>728</c:v>
                </c:pt>
                <c:pt idx="60">
                  <c:v>703</c:v>
                </c:pt>
                <c:pt idx="61">
                  <c:v>360</c:v>
                </c:pt>
                <c:pt idx="62">
                  <c:v>337</c:v>
                </c:pt>
                <c:pt idx="63">
                  <c:v>226</c:v>
                </c:pt>
                <c:pt idx="64">
                  <c:v>284</c:v>
                </c:pt>
                <c:pt idx="65">
                  <c:v>75</c:v>
                </c:pt>
                <c:pt idx="66">
                  <c:v>140</c:v>
                </c:pt>
                <c:pt idx="67">
                  <c:v>117</c:v>
                </c:pt>
                <c:pt idx="68">
                  <c:v>109</c:v>
                </c:pt>
                <c:pt idx="69">
                  <c:v>144</c:v>
                </c:pt>
                <c:pt idx="70">
                  <c:v>38</c:v>
                </c:pt>
                <c:pt idx="71">
                  <c:v>59</c:v>
                </c:pt>
                <c:pt idx="72">
                  <c:v>158</c:v>
                </c:pt>
                <c:pt idx="73">
                  <c:v>65</c:v>
                </c:pt>
                <c:pt idx="74">
                  <c:v>87</c:v>
                </c:pt>
                <c:pt idx="75">
                  <c:v>104</c:v>
                </c:pt>
                <c:pt idx="76">
                  <c:v>58</c:v>
                </c:pt>
                <c:pt idx="77">
                  <c:v>69</c:v>
                </c:pt>
                <c:pt idx="78">
                  <c:v>54</c:v>
                </c:pt>
                <c:pt idx="79">
                  <c:v>76</c:v>
                </c:pt>
                <c:pt idx="80">
                  <c:v>55</c:v>
                </c:pt>
                <c:pt idx="81">
                  <c:v>17</c:v>
                </c:pt>
                <c:pt idx="82">
                  <c:v>28</c:v>
                </c:pt>
                <c:pt idx="83">
                  <c:v>44</c:v>
                </c:pt>
                <c:pt idx="84">
                  <c:v>7</c:v>
                </c:pt>
                <c:pt idx="85">
                  <c:v>54</c:v>
                </c:pt>
                <c:pt idx="86">
                  <c:v>8</c:v>
                </c:pt>
                <c:pt idx="87">
                  <c:v>62</c:v>
                </c:pt>
                <c:pt idx="88">
                  <c:v>40</c:v>
                </c:pt>
                <c:pt idx="89">
                  <c:v>7</c:v>
                </c:pt>
                <c:pt idx="90">
                  <c:v>41</c:v>
                </c:pt>
                <c:pt idx="91">
                  <c:v>2</c:v>
                </c:pt>
                <c:pt idx="92">
                  <c:v>12</c:v>
                </c:pt>
                <c:pt idx="93">
                  <c:v>29</c:v>
                </c:pt>
                <c:pt idx="94">
                  <c:v>27</c:v>
                </c:pt>
                <c:pt idx="95">
                  <c:v>15</c:v>
                </c:pt>
                <c:pt idx="96">
                  <c:v>16</c:v>
                </c:pt>
                <c:pt idx="97">
                  <c:v>42</c:v>
                </c:pt>
                <c:pt idx="98">
                  <c:v>8</c:v>
                </c:pt>
                <c:pt idx="99">
                  <c:v>2</c:v>
                </c:pt>
                <c:pt idx="100">
                  <c:v>52</c:v>
                </c:pt>
                <c:pt idx="101">
                  <c:v>30</c:v>
                </c:pt>
                <c:pt idx="102">
                  <c:v>50</c:v>
                </c:pt>
                <c:pt idx="103">
                  <c:v>135</c:v>
                </c:pt>
                <c:pt idx="104">
                  <c:v>296</c:v>
                </c:pt>
                <c:pt idx="105">
                  <c:v>1527</c:v>
                </c:pt>
                <c:pt idx="106">
                  <c:v>27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885</c:v>
                </c:pt>
                <c:pt idx="1">
                  <c:v>1026</c:v>
                </c:pt>
                <c:pt idx="2">
                  <c:v>1336</c:v>
                </c:pt>
                <c:pt idx="3">
                  <c:v>1514</c:v>
                </c:pt>
                <c:pt idx="4">
                  <c:v>1705</c:v>
                </c:pt>
                <c:pt idx="5">
                  <c:v>2038</c:v>
                </c:pt>
                <c:pt idx="6">
                  <c:v>2401</c:v>
                </c:pt>
                <c:pt idx="7">
                  <c:v>2675</c:v>
                </c:pt>
                <c:pt idx="8">
                  <c:v>2840</c:v>
                </c:pt>
                <c:pt idx="9">
                  <c:v>3024</c:v>
                </c:pt>
                <c:pt idx="10">
                  <c:v>3122</c:v>
                </c:pt>
                <c:pt idx="11">
                  <c:v>3427</c:v>
                </c:pt>
                <c:pt idx="12">
                  <c:v>3466</c:v>
                </c:pt>
                <c:pt idx="13">
                  <c:v>3633</c:v>
                </c:pt>
                <c:pt idx="14">
                  <c:v>3844</c:v>
                </c:pt>
                <c:pt idx="15">
                  <c:v>3901</c:v>
                </c:pt>
                <c:pt idx="16">
                  <c:v>3932</c:v>
                </c:pt>
                <c:pt idx="17">
                  <c:v>4021</c:v>
                </c:pt>
                <c:pt idx="18">
                  <c:v>4127</c:v>
                </c:pt>
                <c:pt idx="19">
                  <c:v>4146</c:v>
                </c:pt>
                <c:pt idx="20">
                  <c:v>4362</c:v>
                </c:pt>
                <c:pt idx="21">
                  <c:v>4393</c:v>
                </c:pt>
                <c:pt idx="22">
                  <c:v>4532</c:v>
                </c:pt>
                <c:pt idx="23">
                  <c:v>4629</c:v>
                </c:pt>
                <c:pt idx="24">
                  <c:v>4677</c:v>
                </c:pt>
                <c:pt idx="25">
                  <c:v>4905</c:v>
                </c:pt>
                <c:pt idx="26">
                  <c:v>5013</c:v>
                </c:pt>
                <c:pt idx="27">
                  <c:v>5059</c:v>
                </c:pt>
                <c:pt idx="28">
                  <c:v>5231</c:v>
                </c:pt>
                <c:pt idx="29">
                  <c:v>5186</c:v>
                </c:pt>
                <c:pt idx="30">
                  <c:v>5361</c:v>
                </c:pt>
                <c:pt idx="31">
                  <c:v>5416</c:v>
                </c:pt>
                <c:pt idx="32">
                  <c:v>5453</c:v>
                </c:pt>
                <c:pt idx="33">
                  <c:v>5450</c:v>
                </c:pt>
                <c:pt idx="34">
                  <c:v>5338</c:v>
                </c:pt>
                <c:pt idx="35">
                  <c:v>5446</c:v>
                </c:pt>
                <c:pt idx="36">
                  <c:v>5517</c:v>
                </c:pt>
                <c:pt idx="37">
                  <c:v>5440</c:v>
                </c:pt>
                <c:pt idx="38">
                  <c:v>5514</c:v>
                </c:pt>
                <c:pt idx="39">
                  <c:v>5599</c:v>
                </c:pt>
                <c:pt idx="40">
                  <c:v>5717</c:v>
                </c:pt>
                <c:pt idx="41">
                  <c:v>5694</c:v>
                </c:pt>
                <c:pt idx="42">
                  <c:v>5721</c:v>
                </c:pt>
                <c:pt idx="43">
                  <c:v>5733</c:v>
                </c:pt>
                <c:pt idx="44">
                  <c:v>5698</c:v>
                </c:pt>
                <c:pt idx="45">
                  <c:v>5645</c:v>
                </c:pt>
                <c:pt idx="46">
                  <c:v>5624</c:v>
                </c:pt>
                <c:pt idx="47">
                  <c:v>5604</c:v>
                </c:pt>
                <c:pt idx="48">
                  <c:v>5562</c:v>
                </c:pt>
                <c:pt idx="49">
                  <c:v>5540</c:v>
                </c:pt>
                <c:pt idx="50">
                  <c:v>5411</c:v>
                </c:pt>
                <c:pt idx="51">
                  <c:v>5522</c:v>
                </c:pt>
                <c:pt idx="52">
                  <c:v>4831</c:v>
                </c:pt>
                <c:pt idx="53">
                  <c:v>5596</c:v>
                </c:pt>
                <c:pt idx="54">
                  <c:v>5596</c:v>
                </c:pt>
                <c:pt idx="55">
                  <c:v>5596</c:v>
                </c:pt>
                <c:pt idx="56">
                  <c:v>5616</c:v>
                </c:pt>
                <c:pt idx="57">
                  <c:v>5047</c:v>
                </c:pt>
                <c:pt idx="58">
                  <c:v>2506</c:v>
                </c:pt>
                <c:pt idx="59">
                  <c:v>2865</c:v>
                </c:pt>
                <c:pt idx="60">
                  <c:v>2260</c:v>
                </c:pt>
                <c:pt idx="61">
                  <c:v>848</c:v>
                </c:pt>
                <c:pt idx="62">
                  <c:v>534</c:v>
                </c:pt>
                <c:pt idx="63">
                  <c:v>491</c:v>
                </c:pt>
                <c:pt idx="64">
                  <c:v>279</c:v>
                </c:pt>
                <c:pt idx="65">
                  <c:v>182</c:v>
                </c:pt>
                <c:pt idx="66">
                  <c:v>161</c:v>
                </c:pt>
                <c:pt idx="67">
                  <c:v>149</c:v>
                </c:pt>
                <c:pt idx="68">
                  <c:v>125</c:v>
                </c:pt>
                <c:pt idx="69">
                  <c:v>103</c:v>
                </c:pt>
                <c:pt idx="70">
                  <c:v>99</c:v>
                </c:pt>
                <c:pt idx="71">
                  <c:v>63</c:v>
                </c:pt>
                <c:pt idx="72">
                  <c:v>79</c:v>
                </c:pt>
                <c:pt idx="73">
                  <c:v>82</c:v>
                </c:pt>
                <c:pt idx="74">
                  <c:v>68</c:v>
                </c:pt>
                <c:pt idx="75">
                  <c:v>64</c:v>
                </c:pt>
                <c:pt idx="76">
                  <c:v>88</c:v>
                </c:pt>
                <c:pt idx="77">
                  <c:v>59</c:v>
                </c:pt>
                <c:pt idx="78">
                  <c:v>60</c:v>
                </c:pt>
                <c:pt idx="79">
                  <c:v>43</c:v>
                </c:pt>
                <c:pt idx="80">
                  <c:v>43</c:v>
                </c:pt>
                <c:pt idx="81">
                  <c:v>40</c:v>
                </c:pt>
                <c:pt idx="82">
                  <c:v>37</c:v>
                </c:pt>
                <c:pt idx="83">
                  <c:v>49</c:v>
                </c:pt>
                <c:pt idx="84">
                  <c:v>35</c:v>
                </c:pt>
                <c:pt idx="85">
                  <c:v>37</c:v>
                </c:pt>
                <c:pt idx="86">
                  <c:v>36</c:v>
                </c:pt>
                <c:pt idx="87">
                  <c:v>37</c:v>
                </c:pt>
                <c:pt idx="88">
                  <c:v>37</c:v>
                </c:pt>
                <c:pt idx="89">
                  <c:v>39</c:v>
                </c:pt>
                <c:pt idx="90">
                  <c:v>55</c:v>
                </c:pt>
                <c:pt idx="91">
                  <c:v>4</c:v>
                </c:pt>
                <c:pt idx="92">
                  <c:v>16</c:v>
                </c:pt>
                <c:pt idx="93">
                  <c:v>30</c:v>
                </c:pt>
                <c:pt idx="94">
                  <c:v>28</c:v>
                </c:pt>
                <c:pt idx="95">
                  <c:v>47</c:v>
                </c:pt>
                <c:pt idx="96">
                  <c:v>39</c:v>
                </c:pt>
                <c:pt idx="97">
                  <c:v>51</c:v>
                </c:pt>
                <c:pt idx="98">
                  <c:v>53</c:v>
                </c:pt>
                <c:pt idx="99">
                  <c:v>54</c:v>
                </c:pt>
                <c:pt idx="100">
                  <c:v>74</c:v>
                </c:pt>
                <c:pt idx="101">
                  <c:v>105</c:v>
                </c:pt>
                <c:pt idx="102">
                  <c:v>281</c:v>
                </c:pt>
                <c:pt idx="103">
                  <c:v>622</c:v>
                </c:pt>
                <c:pt idx="104">
                  <c:v>1072</c:v>
                </c:pt>
                <c:pt idx="105">
                  <c:v>1562</c:v>
                </c:pt>
                <c:pt idx="106">
                  <c:v>201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26</c:v>
                </c:pt>
                <c:pt idx="1">
                  <c:v>0</c:v>
                </c:pt>
                <c:pt idx="2">
                  <c:v>0</c:v>
                </c:pt>
                <c:pt idx="3">
                  <c:v>0.01</c:v>
                </c:pt>
                <c:pt idx="4">
                  <c:v>0</c:v>
                </c:pt>
                <c:pt idx="5">
                  <c:v>0.05</c:v>
                </c:pt>
                <c:pt idx="6">
                  <c:v>0.13</c:v>
                </c:pt>
                <c:pt idx="7">
                  <c:v>0.13</c:v>
                </c:pt>
                <c:pt idx="8">
                  <c:v>0.05</c:v>
                </c:pt>
                <c:pt idx="9">
                  <c:v>7.0000000000000007E-2</c:v>
                </c:pt>
                <c:pt idx="10">
                  <c:v>0.11</c:v>
                </c:pt>
                <c:pt idx="11">
                  <c:v>0.1</c:v>
                </c:pt>
                <c:pt idx="12">
                  <c:v>0.1</c:v>
                </c:pt>
                <c:pt idx="13">
                  <c:v>0.09</c:v>
                </c:pt>
                <c:pt idx="14">
                  <c:v>0.05</c:v>
                </c:pt>
                <c:pt idx="15">
                  <c:v>7.0000000000000007E-2</c:v>
                </c:pt>
                <c:pt idx="16">
                  <c:v>0.06</c:v>
                </c:pt>
                <c:pt idx="17">
                  <c:v>0.09</c:v>
                </c:pt>
                <c:pt idx="18">
                  <c:v>0.08</c:v>
                </c:pt>
                <c:pt idx="19">
                  <c:v>7.0000000000000007E-2</c:v>
                </c:pt>
                <c:pt idx="20">
                  <c:v>0.11</c:v>
                </c:pt>
                <c:pt idx="21">
                  <c:v>0.06</c:v>
                </c:pt>
                <c:pt idx="22">
                  <c:v>0.1</c:v>
                </c:pt>
                <c:pt idx="23">
                  <c:v>0.09</c:v>
                </c:pt>
                <c:pt idx="24">
                  <c:v>0.05</c:v>
                </c:pt>
                <c:pt idx="25">
                  <c:v>0.09</c:v>
                </c:pt>
                <c:pt idx="26">
                  <c:v>0.12</c:v>
                </c:pt>
                <c:pt idx="27">
                  <c:v>0.06</c:v>
                </c:pt>
                <c:pt idx="28">
                  <c:v>7.0000000000000007E-2</c:v>
                </c:pt>
                <c:pt idx="29">
                  <c:v>7.0000000000000007E-2</c:v>
                </c:pt>
                <c:pt idx="30">
                  <c:v>0.04</c:v>
                </c:pt>
                <c:pt idx="31">
                  <c:v>7.0000000000000007E-2</c:v>
                </c:pt>
                <c:pt idx="32">
                  <c:v>0.06</c:v>
                </c:pt>
                <c:pt idx="33">
                  <c:v>0.03</c:v>
                </c:pt>
                <c:pt idx="34">
                  <c:v>0.03</c:v>
                </c:pt>
                <c:pt idx="35">
                  <c:v>0.03</c:v>
                </c:pt>
                <c:pt idx="36">
                  <c:v>7.0000000000000007E-2</c:v>
                </c:pt>
                <c:pt idx="37">
                  <c:v>0.05</c:v>
                </c:pt>
                <c:pt idx="38">
                  <c:v>0.06</c:v>
                </c:pt>
                <c:pt idx="39">
                  <c:v>7.0000000000000007E-2</c:v>
                </c:pt>
                <c:pt idx="40">
                  <c:v>0.06</c:v>
                </c:pt>
                <c:pt idx="41">
                  <c:v>0.05</c:v>
                </c:pt>
                <c:pt idx="42">
                  <c:v>0.06</c:v>
                </c:pt>
                <c:pt idx="43">
                  <c:v>0.01</c:v>
                </c:pt>
                <c:pt idx="44">
                  <c:v>0</c:v>
                </c:pt>
                <c:pt idx="45">
                  <c:v>0.02</c:v>
                </c:pt>
                <c:pt idx="46">
                  <c:v>0</c:v>
                </c:pt>
                <c:pt idx="47">
                  <c:v>0</c:v>
                </c:pt>
                <c:pt idx="48">
                  <c:v>0</c:v>
                </c:pt>
                <c:pt idx="49">
                  <c:v>0.47</c:v>
                </c:pt>
                <c:pt idx="50">
                  <c:v>0.76</c:v>
                </c:pt>
                <c:pt idx="51">
                  <c:v>0.76</c:v>
                </c:pt>
                <c:pt idx="52">
                  <c:v>0.81</c:v>
                </c:pt>
                <c:pt idx="53">
                  <c:v>0.9</c:v>
                </c:pt>
                <c:pt idx="54">
                  <c:v>0.94</c:v>
                </c:pt>
                <c:pt idx="55">
                  <c:v>0.97</c:v>
                </c:pt>
                <c:pt idx="56">
                  <c:v>0.94</c:v>
                </c:pt>
                <c:pt idx="57">
                  <c:v>0.95</c:v>
                </c:pt>
                <c:pt idx="58">
                  <c:v>0.83</c:v>
                </c:pt>
                <c:pt idx="59">
                  <c:v>0.81</c:v>
                </c:pt>
                <c:pt idx="60">
                  <c:v>0.72</c:v>
                </c:pt>
                <c:pt idx="61">
                  <c:v>0.43</c:v>
                </c:pt>
                <c:pt idx="62">
                  <c:v>0.42</c:v>
                </c:pt>
                <c:pt idx="63">
                  <c:v>0.71</c:v>
                </c:pt>
                <c:pt idx="64">
                  <c:v>0.37</c:v>
                </c:pt>
                <c:pt idx="65">
                  <c:v>0.18</c:v>
                </c:pt>
                <c:pt idx="66">
                  <c:v>0.2</c:v>
                </c:pt>
                <c:pt idx="67">
                  <c:v>0.19</c:v>
                </c:pt>
                <c:pt idx="68">
                  <c:v>0.48</c:v>
                </c:pt>
                <c:pt idx="69">
                  <c:v>0.1</c:v>
                </c:pt>
                <c:pt idx="70">
                  <c:v>0.1</c:v>
                </c:pt>
                <c:pt idx="71">
                  <c:v>0.38</c:v>
                </c:pt>
                <c:pt idx="72">
                  <c:v>0.48</c:v>
                </c:pt>
                <c:pt idx="73">
                  <c:v>0</c:v>
                </c:pt>
                <c:pt idx="74">
                  <c:v>0</c:v>
                </c:pt>
                <c:pt idx="75">
                  <c:v>0.56000000000000005</c:v>
                </c:pt>
                <c:pt idx="76">
                  <c:v>0.22</c:v>
                </c:pt>
                <c:pt idx="77">
                  <c:v>0.27</c:v>
                </c:pt>
                <c:pt idx="78">
                  <c:v>0.67</c:v>
                </c:pt>
                <c:pt idx="79">
                  <c:v>0.83</c:v>
                </c:pt>
                <c:pt idx="80">
                  <c:v>0.79</c:v>
                </c:pt>
                <c:pt idx="81">
                  <c:v>0.33</c:v>
                </c:pt>
                <c:pt idx="82">
                  <c:v>0.25</c:v>
                </c:pt>
                <c:pt idx="83">
                  <c:v>0.28999999999999998</c:v>
                </c:pt>
                <c:pt idx="84">
                  <c:v>0</c:v>
                </c:pt>
                <c:pt idx="85">
                  <c:v>0</c:v>
                </c:pt>
                <c:pt idx="86">
                  <c:v>0</c:v>
                </c:pt>
                <c:pt idx="87">
                  <c:v>0</c:v>
                </c:pt>
                <c:pt idx="88">
                  <c:v>0</c:v>
                </c:pt>
                <c:pt idx="89">
                  <c:v>0</c:v>
                </c:pt>
                <c:pt idx="90">
                  <c:v>0.67</c:v>
                </c:pt>
                <c:pt idx="91">
                  <c:v>0</c:v>
                </c:pt>
                <c:pt idx="92">
                  <c:v>1</c:v>
                </c:pt>
                <c:pt idx="93">
                  <c:v>0.2</c:v>
                </c:pt>
                <c:pt idx="94">
                  <c:v>0.75</c:v>
                </c:pt>
                <c:pt idx="95">
                  <c:v>0</c:v>
                </c:pt>
                <c:pt idx="96">
                  <c:v>0.67</c:v>
                </c:pt>
                <c:pt idx="97">
                  <c:v>0</c:v>
                </c:pt>
                <c:pt idx="98">
                  <c:v>0</c:v>
                </c:pt>
                <c:pt idx="99">
                  <c:v>0</c:v>
                </c:pt>
                <c:pt idx="100">
                  <c:v>0.2</c:v>
                </c:pt>
                <c:pt idx="101">
                  <c:v>0.5</c:v>
                </c:pt>
                <c:pt idx="102">
                  <c:v>0</c:v>
                </c:pt>
                <c:pt idx="103">
                  <c:v>0</c:v>
                </c:pt>
                <c:pt idx="104">
                  <c:v>0</c:v>
                </c:pt>
                <c:pt idx="105">
                  <c:v>0.02</c:v>
                </c:pt>
                <c:pt idx="106">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5</c:v>
                </c:pt>
                <c:pt idx="101">
                  <c:v>20</c:v>
                </c:pt>
                <c:pt idx="102">
                  <c:v>10</c:v>
                </c:pt>
                <c:pt idx="103">
                  <c:v>0</c:v>
                </c:pt>
                <c:pt idx="104">
                  <c:v>5</c:v>
                </c:pt>
                <c:pt idx="105">
                  <c:v>5</c:v>
                </c:pt>
                <c:pt idx="106">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5</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32</c:v>
                </c:pt>
                <c:pt idx="101">
                  <c:v>10</c:v>
                </c:pt>
                <c:pt idx="102">
                  <c:v>36</c:v>
                </c:pt>
                <c:pt idx="103">
                  <c:v>62</c:v>
                </c:pt>
                <c:pt idx="104">
                  <c:v>190</c:v>
                </c:pt>
                <c:pt idx="105">
                  <c:v>922</c:v>
                </c:pt>
                <c:pt idx="106">
                  <c:v>159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8</c:v>
                </c:pt>
                <c:pt idx="101">
                  <c:v>10</c:v>
                </c:pt>
                <c:pt idx="102">
                  <c:v>0</c:v>
                </c:pt>
                <c:pt idx="103">
                  <c:v>8</c:v>
                </c:pt>
                <c:pt idx="104">
                  <c:v>4</c:v>
                </c:pt>
                <c:pt idx="105">
                  <c:v>14</c:v>
                </c:pt>
                <c:pt idx="106">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275</c:v>
                </c:pt>
                <c:pt idx="39">
                  <c:v>9580</c:v>
                </c:pt>
                <c:pt idx="40">
                  <c:v>7685</c:v>
                </c:pt>
                <c:pt idx="41">
                  <c:v>83775</c:v>
                </c:pt>
                <c:pt idx="42">
                  <c:v>103745</c:v>
                </c:pt>
                <c:pt idx="43">
                  <c:v>86010</c:v>
                </c:pt>
                <c:pt idx="44">
                  <c:v>375390</c:v>
                </c:pt>
                <c:pt idx="45">
                  <c:v>352690</c:v>
                </c:pt>
                <c:pt idx="46">
                  <c:v>311690</c:v>
                </c:pt>
                <c:pt idx="47">
                  <c:v>90585</c:v>
                </c:pt>
                <c:pt idx="48">
                  <c:v>74385</c:v>
                </c:pt>
                <c:pt idx="49">
                  <c:v>75465</c:v>
                </c:pt>
                <c:pt idx="50">
                  <c:v>136740</c:v>
                </c:pt>
                <c:pt idx="51">
                  <c:v>279025</c:v>
                </c:pt>
                <c:pt idx="52">
                  <c:v>374830</c:v>
                </c:pt>
                <c:pt idx="53">
                  <c:v>417605</c:v>
                </c:pt>
                <c:pt idx="54">
                  <c:v>380750</c:v>
                </c:pt>
                <c:pt idx="55">
                  <c:v>313225</c:v>
                </c:pt>
                <c:pt idx="56">
                  <c:v>22670</c:v>
                </c:pt>
                <c:pt idx="57">
                  <c:v>23190</c:v>
                </c:pt>
                <c:pt idx="58">
                  <c:v>19260</c:v>
                </c:pt>
                <c:pt idx="59">
                  <c:v>23280</c:v>
                </c:pt>
                <c:pt idx="60">
                  <c:v>70145</c:v>
                </c:pt>
                <c:pt idx="61">
                  <c:v>90260</c:v>
                </c:pt>
                <c:pt idx="62">
                  <c:v>65280</c:v>
                </c:pt>
                <c:pt idx="63">
                  <c:v>24365</c:v>
                </c:pt>
                <c:pt idx="64">
                  <c:v>10500</c:v>
                </c:pt>
                <c:pt idx="65">
                  <c:v>86360</c:v>
                </c:pt>
                <c:pt idx="66">
                  <c:v>200880</c:v>
                </c:pt>
                <c:pt idx="67">
                  <c:v>188065</c:v>
                </c:pt>
                <c:pt idx="68">
                  <c:v>104430</c:v>
                </c:pt>
                <c:pt idx="69">
                  <c:v>54480</c:v>
                </c:pt>
                <c:pt idx="70">
                  <c:v>37470</c:v>
                </c:pt>
                <c:pt idx="71">
                  <c:v>63420</c:v>
                </c:pt>
                <c:pt idx="72">
                  <c:v>56850</c:v>
                </c:pt>
                <c:pt idx="73">
                  <c:v>213700</c:v>
                </c:pt>
                <c:pt idx="74">
                  <c:v>288130</c:v>
                </c:pt>
                <c:pt idx="75">
                  <c:v>286385</c:v>
                </c:pt>
                <c:pt idx="76">
                  <c:v>280445</c:v>
                </c:pt>
                <c:pt idx="77">
                  <c:v>278165</c:v>
                </c:pt>
                <c:pt idx="78">
                  <c:v>257200</c:v>
                </c:pt>
                <c:pt idx="79">
                  <c:v>26585</c:v>
                </c:pt>
                <c:pt idx="80">
                  <c:v>1260</c:v>
                </c:pt>
                <c:pt idx="81">
                  <c:v>1500</c:v>
                </c:pt>
                <c:pt idx="82">
                  <c:v>53250</c:v>
                </c:pt>
                <c:pt idx="83">
                  <c:v>66230</c:v>
                </c:pt>
                <c:pt idx="84">
                  <c:v>77510</c:v>
                </c:pt>
                <c:pt idx="85">
                  <c:v>63095</c:v>
                </c:pt>
                <c:pt idx="86">
                  <c:v>13520</c:v>
                </c:pt>
                <c:pt idx="87">
                  <c:v>14580</c:v>
                </c:pt>
                <c:pt idx="88">
                  <c:v>13440</c:v>
                </c:pt>
                <c:pt idx="89">
                  <c:v>14505</c:v>
                </c:pt>
                <c:pt idx="90">
                  <c:v>15360</c:v>
                </c:pt>
                <c:pt idx="91">
                  <c:v>1300</c:v>
                </c:pt>
                <c:pt idx="92">
                  <c:v>910</c:v>
                </c:pt>
                <c:pt idx="93">
                  <c:v>53165</c:v>
                </c:pt>
                <c:pt idx="94">
                  <c:v>68325</c:v>
                </c:pt>
                <c:pt idx="95">
                  <c:v>285870</c:v>
                </c:pt>
                <c:pt idx="96">
                  <c:v>313980</c:v>
                </c:pt>
                <c:pt idx="97">
                  <c:v>296770</c:v>
                </c:pt>
                <c:pt idx="98">
                  <c:v>289345</c:v>
                </c:pt>
                <c:pt idx="99">
                  <c:v>266660</c:v>
                </c:pt>
                <c:pt idx="100">
                  <c:v>205270</c:v>
                </c:pt>
                <c:pt idx="101">
                  <c:v>58290</c:v>
                </c:pt>
                <c:pt idx="102">
                  <c:v>84180</c:v>
                </c:pt>
                <c:pt idx="103">
                  <c:v>76160</c:v>
                </c:pt>
                <c:pt idx="104">
                  <c:v>232055</c:v>
                </c:pt>
                <c:pt idx="105">
                  <c:v>404225</c:v>
                </c:pt>
                <c:pt idx="106">
                  <c:v>424985</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6057</c:v>
                </c:pt>
                <c:pt idx="1">
                  <c:v>442659</c:v>
                </c:pt>
                <c:pt idx="2">
                  <c:v>435021</c:v>
                </c:pt>
                <c:pt idx="3">
                  <c:v>418958</c:v>
                </c:pt>
                <c:pt idx="4">
                  <c:v>433072</c:v>
                </c:pt>
                <c:pt idx="5">
                  <c:v>436611</c:v>
                </c:pt>
                <c:pt idx="6">
                  <c:v>417681</c:v>
                </c:pt>
                <c:pt idx="7">
                  <c:v>421511</c:v>
                </c:pt>
                <c:pt idx="8">
                  <c:v>451128</c:v>
                </c:pt>
                <c:pt idx="9">
                  <c:v>425080</c:v>
                </c:pt>
                <c:pt idx="10">
                  <c:v>406292</c:v>
                </c:pt>
                <c:pt idx="11">
                  <c:v>413572</c:v>
                </c:pt>
                <c:pt idx="12">
                  <c:v>444633</c:v>
                </c:pt>
                <c:pt idx="13">
                  <c:v>453778</c:v>
                </c:pt>
                <c:pt idx="14">
                  <c:v>388208</c:v>
                </c:pt>
                <c:pt idx="15">
                  <c:v>434713</c:v>
                </c:pt>
                <c:pt idx="16">
                  <c:v>444538</c:v>
                </c:pt>
                <c:pt idx="17">
                  <c:v>483818</c:v>
                </c:pt>
                <c:pt idx="18">
                  <c:v>454497</c:v>
                </c:pt>
                <c:pt idx="19">
                  <c:v>450862</c:v>
                </c:pt>
                <c:pt idx="20">
                  <c:v>480885</c:v>
                </c:pt>
                <c:pt idx="21">
                  <c:v>500228</c:v>
                </c:pt>
                <c:pt idx="22">
                  <c:v>508566</c:v>
                </c:pt>
                <c:pt idx="23">
                  <c:v>491944</c:v>
                </c:pt>
                <c:pt idx="24">
                  <c:v>479619</c:v>
                </c:pt>
                <c:pt idx="25">
                  <c:v>495654</c:v>
                </c:pt>
                <c:pt idx="26">
                  <c:v>513730</c:v>
                </c:pt>
                <c:pt idx="27">
                  <c:v>452115</c:v>
                </c:pt>
                <c:pt idx="28">
                  <c:v>427538</c:v>
                </c:pt>
                <c:pt idx="29">
                  <c:v>465378</c:v>
                </c:pt>
                <c:pt idx="30">
                  <c:v>509075</c:v>
                </c:pt>
                <c:pt idx="31">
                  <c:v>337795</c:v>
                </c:pt>
                <c:pt idx="32">
                  <c:v>122581</c:v>
                </c:pt>
                <c:pt idx="33">
                  <c:v>104402</c:v>
                </c:pt>
                <c:pt idx="34">
                  <c:v>103453</c:v>
                </c:pt>
                <c:pt idx="35">
                  <c:v>110014</c:v>
                </c:pt>
                <c:pt idx="36">
                  <c:v>106970</c:v>
                </c:pt>
                <c:pt idx="37">
                  <c:v>107095</c:v>
                </c:pt>
                <c:pt idx="38">
                  <c:v>109487</c:v>
                </c:pt>
                <c:pt idx="39">
                  <c:v>114742</c:v>
                </c:pt>
                <c:pt idx="40">
                  <c:v>106748</c:v>
                </c:pt>
                <c:pt idx="41">
                  <c:v>109020</c:v>
                </c:pt>
                <c:pt idx="42">
                  <c:v>111062</c:v>
                </c:pt>
                <c:pt idx="43">
                  <c:v>499409</c:v>
                </c:pt>
                <c:pt idx="44">
                  <c:v>495786</c:v>
                </c:pt>
                <c:pt idx="45">
                  <c:v>451024</c:v>
                </c:pt>
                <c:pt idx="46">
                  <c:v>412809</c:v>
                </c:pt>
                <c:pt idx="47">
                  <c:v>450147</c:v>
                </c:pt>
                <c:pt idx="48">
                  <c:v>450957</c:v>
                </c:pt>
                <c:pt idx="49">
                  <c:v>460031</c:v>
                </c:pt>
                <c:pt idx="50">
                  <c:v>498974</c:v>
                </c:pt>
                <c:pt idx="51">
                  <c:v>379504</c:v>
                </c:pt>
                <c:pt idx="52">
                  <c:v>432751</c:v>
                </c:pt>
                <c:pt idx="53">
                  <c:v>382857</c:v>
                </c:pt>
                <c:pt idx="54">
                  <c:v>402662</c:v>
                </c:pt>
                <c:pt idx="55">
                  <c:v>437665</c:v>
                </c:pt>
                <c:pt idx="56">
                  <c:v>445577</c:v>
                </c:pt>
                <c:pt idx="57">
                  <c:v>435703</c:v>
                </c:pt>
                <c:pt idx="58">
                  <c:v>369956</c:v>
                </c:pt>
                <c:pt idx="59">
                  <c:v>345109</c:v>
                </c:pt>
                <c:pt idx="60">
                  <c:v>400243</c:v>
                </c:pt>
                <c:pt idx="61">
                  <c:v>431477</c:v>
                </c:pt>
                <c:pt idx="62">
                  <c:v>413684</c:v>
                </c:pt>
                <c:pt idx="63">
                  <c:v>343963</c:v>
                </c:pt>
                <c:pt idx="64">
                  <c:v>378356</c:v>
                </c:pt>
                <c:pt idx="65">
                  <c:v>376953</c:v>
                </c:pt>
                <c:pt idx="66">
                  <c:v>357645</c:v>
                </c:pt>
                <c:pt idx="67">
                  <c:v>350505</c:v>
                </c:pt>
                <c:pt idx="68">
                  <c:v>358441</c:v>
                </c:pt>
                <c:pt idx="69">
                  <c:v>380820</c:v>
                </c:pt>
                <c:pt idx="70">
                  <c:v>383764</c:v>
                </c:pt>
                <c:pt idx="71">
                  <c:v>354351</c:v>
                </c:pt>
                <c:pt idx="72">
                  <c:v>389579</c:v>
                </c:pt>
                <c:pt idx="73">
                  <c:v>457551</c:v>
                </c:pt>
                <c:pt idx="74">
                  <c:v>496556</c:v>
                </c:pt>
                <c:pt idx="75">
                  <c:v>461523</c:v>
                </c:pt>
                <c:pt idx="76">
                  <c:v>462623</c:v>
                </c:pt>
                <c:pt idx="77">
                  <c:v>461025</c:v>
                </c:pt>
                <c:pt idx="78">
                  <c:v>497459</c:v>
                </c:pt>
                <c:pt idx="79">
                  <c:v>450347</c:v>
                </c:pt>
                <c:pt idx="80">
                  <c:v>440161</c:v>
                </c:pt>
                <c:pt idx="81">
                  <c:v>434008</c:v>
                </c:pt>
                <c:pt idx="82">
                  <c:v>454367</c:v>
                </c:pt>
                <c:pt idx="83">
                  <c:v>461400</c:v>
                </c:pt>
                <c:pt idx="84">
                  <c:v>457344</c:v>
                </c:pt>
                <c:pt idx="85">
                  <c:v>453510</c:v>
                </c:pt>
                <c:pt idx="86">
                  <c:v>451003</c:v>
                </c:pt>
                <c:pt idx="87">
                  <c:v>462931</c:v>
                </c:pt>
                <c:pt idx="88">
                  <c:v>432425</c:v>
                </c:pt>
                <c:pt idx="89">
                  <c:v>432253</c:v>
                </c:pt>
                <c:pt idx="90">
                  <c:v>413381</c:v>
                </c:pt>
                <c:pt idx="91">
                  <c:v>448850</c:v>
                </c:pt>
                <c:pt idx="92">
                  <c:v>347988</c:v>
                </c:pt>
                <c:pt idx="93">
                  <c:v>342622</c:v>
                </c:pt>
                <c:pt idx="94">
                  <c:v>380486</c:v>
                </c:pt>
                <c:pt idx="95">
                  <c:v>436497</c:v>
                </c:pt>
                <c:pt idx="96">
                  <c:v>450677</c:v>
                </c:pt>
                <c:pt idx="97">
                  <c:v>408292</c:v>
                </c:pt>
                <c:pt idx="98">
                  <c:v>353364</c:v>
                </c:pt>
                <c:pt idx="99">
                  <c:v>287673</c:v>
                </c:pt>
                <c:pt idx="100">
                  <c:v>303099</c:v>
                </c:pt>
                <c:pt idx="101">
                  <c:v>346763</c:v>
                </c:pt>
                <c:pt idx="102">
                  <c:v>395538</c:v>
                </c:pt>
                <c:pt idx="103">
                  <c:v>339252</c:v>
                </c:pt>
                <c:pt idx="104">
                  <c:v>358046</c:v>
                </c:pt>
                <c:pt idx="105">
                  <c:v>337519</c:v>
                </c:pt>
                <c:pt idx="106">
                  <c:v>356182</c:v>
                </c:pt>
                <c:pt idx="107">
                  <c:v>320935</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239</c:v>
                </c:pt>
                <c:pt idx="1">
                  <c:v>80758</c:v>
                </c:pt>
                <c:pt idx="2">
                  <c:v>82044</c:v>
                </c:pt>
                <c:pt idx="3">
                  <c:v>54816</c:v>
                </c:pt>
                <c:pt idx="4">
                  <c:v>44755</c:v>
                </c:pt>
                <c:pt idx="5">
                  <c:v>53094</c:v>
                </c:pt>
                <c:pt idx="6">
                  <c:v>58282</c:v>
                </c:pt>
                <c:pt idx="7">
                  <c:v>99699</c:v>
                </c:pt>
                <c:pt idx="8">
                  <c:v>75872</c:v>
                </c:pt>
                <c:pt idx="9">
                  <c:v>70683</c:v>
                </c:pt>
                <c:pt idx="10">
                  <c:v>74763</c:v>
                </c:pt>
                <c:pt idx="11">
                  <c:v>85584</c:v>
                </c:pt>
                <c:pt idx="12">
                  <c:v>14338</c:v>
                </c:pt>
                <c:pt idx="13">
                  <c:v>48571</c:v>
                </c:pt>
                <c:pt idx="14">
                  <c:v>68032</c:v>
                </c:pt>
                <c:pt idx="15">
                  <c:v>68867</c:v>
                </c:pt>
                <c:pt idx="16">
                  <c:v>18568</c:v>
                </c:pt>
                <c:pt idx="17">
                  <c:v>5261</c:v>
                </c:pt>
                <c:pt idx="18">
                  <c:v>3553</c:v>
                </c:pt>
                <c:pt idx="19">
                  <c:v>2821</c:v>
                </c:pt>
                <c:pt idx="20">
                  <c:v>3507</c:v>
                </c:pt>
                <c:pt idx="21">
                  <c:v>2558</c:v>
                </c:pt>
                <c:pt idx="22">
                  <c:v>2209</c:v>
                </c:pt>
                <c:pt idx="23">
                  <c:v>1762</c:v>
                </c:pt>
                <c:pt idx="24">
                  <c:v>2669</c:v>
                </c:pt>
                <c:pt idx="25">
                  <c:v>3372</c:v>
                </c:pt>
                <c:pt idx="26">
                  <c:v>1228</c:v>
                </c:pt>
                <c:pt idx="27">
                  <c:v>48243</c:v>
                </c:pt>
                <c:pt idx="28">
                  <c:v>96283</c:v>
                </c:pt>
                <c:pt idx="29">
                  <c:v>23991</c:v>
                </c:pt>
                <c:pt idx="30">
                  <c:v>14900</c:v>
                </c:pt>
                <c:pt idx="31">
                  <c:v>180689</c:v>
                </c:pt>
                <c:pt idx="32">
                  <c:v>430624</c:v>
                </c:pt>
                <c:pt idx="33">
                  <c:v>436877</c:v>
                </c:pt>
                <c:pt idx="34">
                  <c:v>436804</c:v>
                </c:pt>
                <c:pt idx="35">
                  <c:v>429366</c:v>
                </c:pt>
                <c:pt idx="36">
                  <c:v>407868</c:v>
                </c:pt>
                <c:pt idx="37">
                  <c:v>397975</c:v>
                </c:pt>
                <c:pt idx="38">
                  <c:v>398977</c:v>
                </c:pt>
                <c:pt idx="39">
                  <c:v>424678</c:v>
                </c:pt>
                <c:pt idx="40">
                  <c:v>440855</c:v>
                </c:pt>
                <c:pt idx="41">
                  <c:v>434826</c:v>
                </c:pt>
                <c:pt idx="42">
                  <c:v>413473</c:v>
                </c:pt>
                <c:pt idx="43">
                  <c:v>47036</c:v>
                </c:pt>
                <c:pt idx="44">
                  <c:v>43815</c:v>
                </c:pt>
                <c:pt idx="45">
                  <c:v>54121</c:v>
                </c:pt>
                <c:pt idx="46">
                  <c:v>83431</c:v>
                </c:pt>
                <c:pt idx="47">
                  <c:v>94523</c:v>
                </c:pt>
                <c:pt idx="48">
                  <c:v>154534</c:v>
                </c:pt>
                <c:pt idx="49">
                  <c:v>183883</c:v>
                </c:pt>
                <c:pt idx="50">
                  <c:v>308309</c:v>
                </c:pt>
                <c:pt idx="51">
                  <c:v>565784</c:v>
                </c:pt>
                <c:pt idx="52">
                  <c:v>46192</c:v>
                </c:pt>
                <c:pt idx="53">
                  <c:v>48478</c:v>
                </c:pt>
                <c:pt idx="54">
                  <c:v>27801</c:v>
                </c:pt>
                <c:pt idx="55">
                  <c:v>14945</c:v>
                </c:pt>
                <c:pt idx="56">
                  <c:v>23250</c:v>
                </c:pt>
                <c:pt idx="57">
                  <c:v>36615</c:v>
                </c:pt>
                <c:pt idx="58">
                  <c:v>73143</c:v>
                </c:pt>
                <c:pt idx="59">
                  <c:v>181681</c:v>
                </c:pt>
                <c:pt idx="60">
                  <c:v>95268</c:v>
                </c:pt>
                <c:pt idx="61">
                  <c:v>50965</c:v>
                </c:pt>
                <c:pt idx="62">
                  <c:v>39514</c:v>
                </c:pt>
                <c:pt idx="63">
                  <c:v>150345</c:v>
                </c:pt>
                <c:pt idx="64">
                  <c:v>106157</c:v>
                </c:pt>
                <c:pt idx="65">
                  <c:v>98650</c:v>
                </c:pt>
                <c:pt idx="66">
                  <c:v>103985</c:v>
                </c:pt>
                <c:pt idx="67">
                  <c:v>147148</c:v>
                </c:pt>
                <c:pt idx="68">
                  <c:v>96549</c:v>
                </c:pt>
                <c:pt idx="69">
                  <c:v>98655</c:v>
                </c:pt>
                <c:pt idx="70">
                  <c:v>88148</c:v>
                </c:pt>
                <c:pt idx="71">
                  <c:v>97637</c:v>
                </c:pt>
                <c:pt idx="72">
                  <c:v>108644</c:v>
                </c:pt>
                <c:pt idx="73">
                  <c:v>1054</c:v>
                </c:pt>
                <c:pt idx="74">
                  <c:v>1382</c:v>
                </c:pt>
                <c:pt idx="75">
                  <c:v>1474</c:v>
                </c:pt>
                <c:pt idx="76">
                  <c:v>2436</c:v>
                </c:pt>
                <c:pt idx="77">
                  <c:v>906</c:v>
                </c:pt>
                <c:pt idx="78">
                  <c:v>2026</c:v>
                </c:pt>
                <c:pt idx="79">
                  <c:v>12851</c:v>
                </c:pt>
                <c:pt idx="80">
                  <c:v>23197</c:v>
                </c:pt>
                <c:pt idx="81">
                  <c:v>23542</c:v>
                </c:pt>
                <c:pt idx="82">
                  <c:v>21764</c:v>
                </c:pt>
                <c:pt idx="83">
                  <c:v>6950</c:v>
                </c:pt>
                <c:pt idx="84">
                  <c:v>6490</c:v>
                </c:pt>
                <c:pt idx="85">
                  <c:v>1049</c:v>
                </c:pt>
                <c:pt idx="86">
                  <c:v>4642</c:v>
                </c:pt>
                <c:pt idx="87">
                  <c:v>1131</c:v>
                </c:pt>
                <c:pt idx="88">
                  <c:v>1465</c:v>
                </c:pt>
                <c:pt idx="89">
                  <c:v>1185</c:v>
                </c:pt>
                <c:pt idx="90">
                  <c:v>17283</c:v>
                </c:pt>
                <c:pt idx="91">
                  <c:v>52297</c:v>
                </c:pt>
                <c:pt idx="92">
                  <c:v>109877</c:v>
                </c:pt>
                <c:pt idx="93">
                  <c:v>141043</c:v>
                </c:pt>
                <c:pt idx="94">
                  <c:v>91803</c:v>
                </c:pt>
                <c:pt idx="95">
                  <c:v>40955</c:v>
                </c:pt>
                <c:pt idx="96">
                  <c:v>52260</c:v>
                </c:pt>
                <c:pt idx="97">
                  <c:v>87202</c:v>
                </c:pt>
                <c:pt idx="98">
                  <c:v>149154</c:v>
                </c:pt>
                <c:pt idx="99">
                  <c:v>226282</c:v>
                </c:pt>
                <c:pt idx="100">
                  <c:v>304207</c:v>
                </c:pt>
                <c:pt idx="101">
                  <c:v>288955</c:v>
                </c:pt>
                <c:pt idx="102">
                  <c:v>325250</c:v>
                </c:pt>
                <c:pt idx="103">
                  <c:v>609797</c:v>
                </c:pt>
                <c:pt idx="104">
                  <c:v>91957</c:v>
                </c:pt>
                <c:pt idx="105">
                  <c:v>75393</c:v>
                </c:pt>
                <c:pt idx="106">
                  <c:v>72457</c:v>
                </c:pt>
                <c:pt idx="107">
                  <c:v>6504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83294</c:v>
                </c:pt>
                <c:pt idx="1">
                  <c:v>894944</c:v>
                </c:pt>
                <c:pt idx="2">
                  <c:v>911854</c:v>
                </c:pt>
                <c:pt idx="3">
                  <c:v>887858</c:v>
                </c:pt>
                <c:pt idx="4">
                  <c:v>942843</c:v>
                </c:pt>
                <c:pt idx="5">
                  <c:v>952782</c:v>
                </c:pt>
                <c:pt idx="6">
                  <c:v>902035</c:v>
                </c:pt>
                <c:pt idx="7">
                  <c:v>947146</c:v>
                </c:pt>
                <c:pt idx="8">
                  <c:v>1001615</c:v>
                </c:pt>
                <c:pt idx="9">
                  <c:v>981067</c:v>
                </c:pt>
                <c:pt idx="10">
                  <c:v>920059</c:v>
                </c:pt>
                <c:pt idx="11">
                  <c:v>905084</c:v>
                </c:pt>
                <c:pt idx="12">
                  <c:v>888212</c:v>
                </c:pt>
                <c:pt idx="13">
                  <c:v>974473</c:v>
                </c:pt>
                <c:pt idx="14">
                  <c:v>875418</c:v>
                </c:pt>
                <c:pt idx="15">
                  <c:v>929827</c:v>
                </c:pt>
                <c:pt idx="16">
                  <c:v>934088</c:v>
                </c:pt>
                <c:pt idx="17">
                  <c:v>1025071</c:v>
                </c:pt>
                <c:pt idx="18">
                  <c:v>969591</c:v>
                </c:pt>
                <c:pt idx="19">
                  <c:v>958315</c:v>
                </c:pt>
                <c:pt idx="20">
                  <c:v>984330</c:v>
                </c:pt>
                <c:pt idx="21">
                  <c:v>1042956</c:v>
                </c:pt>
                <c:pt idx="22">
                  <c:v>1060263</c:v>
                </c:pt>
                <c:pt idx="23">
                  <c:v>1014721</c:v>
                </c:pt>
                <c:pt idx="24">
                  <c:v>973551</c:v>
                </c:pt>
                <c:pt idx="25">
                  <c:v>1001173</c:v>
                </c:pt>
                <c:pt idx="26">
                  <c:v>994129</c:v>
                </c:pt>
                <c:pt idx="27">
                  <c:v>902575</c:v>
                </c:pt>
                <c:pt idx="28">
                  <c:v>925815</c:v>
                </c:pt>
                <c:pt idx="29">
                  <c:v>991622</c:v>
                </c:pt>
                <c:pt idx="30">
                  <c:v>1090041</c:v>
                </c:pt>
                <c:pt idx="31">
                  <c:v>1030135</c:v>
                </c:pt>
                <c:pt idx="32">
                  <c:v>1011531</c:v>
                </c:pt>
                <c:pt idx="33">
                  <c:v>972754</c:v>
                </c:pt>
                <c:pt idx="34">
                  <c:v>1000693</c:v>
                </c:pt>
                <c:pt idx="35">
                  <c:v>991932</c:v>
                </c:pt>
                <c:pt idx="36">
                  <c:v>936982</c:v>
                </c:pt>
                <c:pt idx="37">
                  <c:v>927883</c:v>
                </c:pt>
                <c:pt idx="38">
                  <c:v>922669</c:v>
                </c:pt>
                <c:pt idx="39">
                  <c:v>974484</c:v>
                </c:pt>
                <c:pt idx="40">
                  <c:v>927648</c:v>
                </c:pt>
                <c:pt idx="41">
                  <c:v>911977</c:v>
                </c:pt>
                <c:pt idx="42">
                  <c:v>901112</c:v>
                </c:pt>
                <c:pt idx="43">
                  <c:v>930692</c:v>
                </c:pt>
                <c:pt idx="44">
                  <c:v>920334</c:v>
                </c:pt>
                <c:pt idx="45">
                  <c:v>865169</c:v>
                </c:pt>
                <c:pt idx="46">
                  <c:v>821283</c:v>
                </c:pt>
                <c:pt idx="47">
                  <c:v>916127</c:v>
                </c:pt>
                <c:pt idx="48">
                  <c:v>981533</c:v>
                </c:pt>
                <c:pt idx="49">
                  <c:v>938639</c:v>
                </c:pt>
                <c:pt idx="50">
                  <c:v>1003778</c:v>
                </c:pt>
                <c:pt idx="51">
                  <c:v>800659</c:v>
                </c:pt>
                <c:pt idx="52">
                  <c:v>907039</c:v>
                </c:pt>
                <c:pt idx="53">
                  <c:v>859053</c:v>
                </c:pt>
                <c:pt idx="54">
                  <c:v>819752</c:v>
                </c:pt>
                <c:pt idx="55">
                  <c:v>871990</c:v>
                </c:pt>
                <c:pt idx="56">
                  <c:v>928260</c:v>
                </c:pt>
                <c:pt idx="57">
                  <c:v>907603</c:v>
                </c:pt>
                <c:pt idx="58">
                  <c:v>863715</c:v>
                </c:pt>
                <c:pt idx="59">
                  <c:v>936430</c:v>
                </c:pt>
                <c:pt idx="60">
                  <c:v>990780</c:v>
                </c:pt>
                <c:pt idx="61">
                  <c:v>987775</c:v>
                </c:pt>
                <c:pt idx="62">
                  <c:v>939722</c:v>
                </c:pt>
                <c:pt idx="63">
                  <c:v>922170</c:v>
                </c:pt>
                <c:pt idx="64">
                  <c:v>943802</c:v>
                </c:pt>
                <c:pt idx="65">
                  <c:v>916012</c:v>
                </c:pt>
                <c:pt idx="66">
                  <c:v>798917</c:v>
                </c:pt>
                <c:pt idx="67">
                  <c:v>772919</c:v>
                </c:pt>
                <c:pt idx="68">
                  <c:v>738960</c:v>
                </c:pt>
                <c:pt idx="69">
                  <c:v>792139</c:v>
                </c:pt>
                <c:pt idx="70">
                  <c:v>795848</c:v>
                </c:pt>
                <c:pt idx="71">
                  <c:v>781153</c:v>
                </c:pt>
                <c:pt idx="72">
                  <c:v>817269</c:v>
                </c:pt>
                <c:pt idx="73">
                  <c:v>811997</c:v>
                </c:pt>
                <c:pt idx="74">
                  <c:v>906209</c:v>
                </c:pt>
                <c:pt idx="75">
                  <c:v>838415</c:v>
                </c:pt>
                <c:pt idx="76">
                  <c:v>858390</c:v>
                </c:pt>
                <c:pt idx="77">
                  <c:v>1012948</c:v>
                </c:pt>
                <c:pt idx="78">
                  <c:v>1118943</c:v>
                </c:pt>
                <c:pt idx="79">
                  <c:v>1013990</c:v>
                </c:pt>
                <c:pt idx="80">
                  <c:v>1018155</c:v>
                </c:pt>
                <c:pt idx="81">
                  <c:v>985159</c:v>
                </c:pt>
                <c:pt idx="82">
                  <c:v>1046654</c:v>
                </c:pt>
                <c:pt idx="83">
                  <c:v>1031113</c:v>
                </c:pt>
                <c:pt idx="84">
                  <c:v>1007505</c:v>
                </c:pt>
                <c:pt idx="85">
                  <c:v>978595</c:v>
                </c:pt>
                <c:pt idx="86">
                  <c:v>990689</c:v>
                </c:pt>
                <c:pt idx="87">
                  <c:v>1038958</c:v>
                </c:pt>
                <c:pt idx="88">
                  <c:v>947929</c:v>
                </c:pt>
                <c:pt idx="89">
                  <c:v>946099</c:v>
                </c:pt>
                <c:pt idx="90">
                  <c:v>930181</c:v>
                </c:pt>
                <c:pt idx="91">
                  <c:v>1085978</c:v>
                </c:pt>
                <c:pt idx="92">
                  <c:v>942936</c:v>
                </c:pt>
                <c:pt idx="93">
                  <c:v>929753</c:v>
                </c:pt>
                <c:pt idx="94">
                  <c:v>910372</c:v>
                </c:pt>
                <c:pt idx="95">
                  <c:v>914508</c:v>
                </c:pt>
                <c:pt idx="96">
                  <c:v>957880</c:v>
                </c:pt>
                <c:pt idx="97">
                  <c:v>890415</c:v>
                </c:pt>
                <c:pt idx="98">
                  <c:v>895577</c:v>
                </c:pt>
                <c:pt idx="99">
                  <c:v>826631</c:v>
                </c:pt>
                <c:pt idx="100">
                  <c:v>929598</c:v>
                </c:pt>
                <c:pt idx="101">
                  <c:v>922201</c:v>
                </c:pt>
                <c:pt idx="102">
                  <c:v>940763</c:v>
                </c:pt>
                <c:pt idx="103">
                  <c:v>805062</c:v>
                </c:pt>
                <c:pt idx="104">
                  <c:v>827647</c:v>
                </c:pt>
                <c:pt idx="105">
                  <c:v>783404</c:v>
                </c:pt>
                <c:pt idx="106">
                  <c:v>829574</c:v>
                </c:pt>
                <c:pt idx="107">
                  <c:v>77608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3046</c:v>
                </c:pt>
                <c:pt idx="1">
                  <c:v>17005</c:v>
                </c:pt>
                <c:pt idx="2">
                  <c:v>11212</c:v>
                </c:pt>
                <c:pt idx="3">
                  <c:v>5307</c:v>
                </c:pt>
                <c:pt idx="4">
                  <c:v>4215</c:v>
                </c:pt>
                <c:pt idx="5">
                  <c:v>2404</c:v>
                </c:pt>
                <c:pt idx="6">
                  <c:v>3055</c:v>
                </c:pt>
                <c:pt idx="7">
                  <c:v>3169</c:v>
                </c:pt>
                <c:pt idx="8">
                  <c:v>1953</c:v>
                </c:pt>
                <c:pt idx="9">
                  <c:v>2014</c:v>
                </c:pt>
                <c:pt idx="10">
                  <c:v>1198</c:v>
                </c:pt>
                <c:pt idx="11">
                  <c:v>2748</c:v>
                </c:pt>
                <c:pt idx="12">
                  <c:v>2361</c:v>
                </c:pt>
                <c:pt idx="13">
                  <c:v>1127</c:v>
                </c:pt>
                <c:pt idx="14">
                  <c:v>18920</c:v>
                </c:pt>
                <c:pt idx="15">
                  <c:v>20094</c:v>
                </c:pt>
                <c:pt idx="16">
                  <c:v>9375</c:v>
                </c:pt>
                <c:pt idx="17">
                  <c:v>7406</c:v>
                </c:pt>
                <c:pt idx="18">
                  <c:v>5340</c:v>
                </c:pt>
                <c:pt idx="19">
                  <c:v>3679</c:v>
                </c:pt>
                <c:pt idx="20">
                  <c:v>3698</c:v>
                </c:pt>
                <c:pt idx="21">
                  <c:v>7834</c:v>
                </c:pt>
                <c:pt idx="22">
                  <c:v>3499</c:v>
                </c:pt>
                <c:pt idx="23">
                  <c:v>3432</c:v>
                </c:pt>
                <c:pt idx="24">
                  <c:v>9276</c:v>
                </c:pt>
                <c:pt idx="25">
                  <c:v>3153</c:v>
                </c:pt>
                <c:pt idx="26">
                  <c:v>1925</c:v>
                </c:pt>
                <c:pt idx="27">
                  <c:v>2517</c:v>
                </c:pt>
                <c:pt idx="28">
                  <c:v>13233</c:v>
                </c:pt>
                <c:pt idx="29">
                  <c:v>10838</c:v>
                </c:pt>
                <c:pt idx="30">
                  <c:v>7803</c:v>
                </c:pt>
                <c:pt idx="31">
                  <c:v>6722</c:v>
                </c:pt>
                <c:pt idx="32">
                  <c:v>7934</c:v>
                </c:pt>
                <c:pt idx="33">
                  <c:v>7981</c:v>
                </c:pt>
                <c:pt idx="34">
                  <c:v>7211</c:v>
                </c:pt>
                <c:pt idx="35">
                  <c:v>7865</c:v>
                </c:pt>
                <c:pt idx="36">
                  <c:v>11100</c:v>
                </c:pt>
                <c:pt idx="37">
                  <c:v>13733</c:v>
                </c:pt>
                <c:pt idx="38">
                  <c:v>15024</c:v>
                </c:pt>
                <c:pt idx="39">
                  <c:v>14472</c:v>
                </c:pt>
                <c:pt idx="40">
                  <c:v>11562</c:v>
                </c:pt>
                <c:pt idx="41">
                  <c:v>10472</c:v>
                </c:pt>
                <c:pt idx="42">
                  <c:v>9737</c:v>
                </c:pt>
                <c:pt idx="43">
                  <c:v>8311</c:v>
                </c:pt>
                <c:pt idx="44">
                  <c:v>8439</c:v>
                </c:pt>
                <c:pt idx="45">
                  <c:v>7319</c:v>
                </c:pt>
                <c:pt idx="46">
                  <c:v>4191</c:v>
                </c:pt>
                <c:pt idx="47">
                  <c:v>3022</c:v>
                </c:pt>
                <c:pt idx="48">
                  <c:v>4391</c:v>
                </c:pt>
                <c:pt idx="49">
                  <c:v>8000</c:v>
                </c:pt>
                <c:pt idx="50">
                  <c:v>11736</c:v>
                </c:pt>
                <c:pt idx="51">
                  <c:v>7645</c:v>
                </c:pt>
                <c:pt idx="52">
                  <c:v>20146</c:v>
                </c:pt>
                <c:pt idx="53">
                  <c:v>39037</c:v>
                </c:pt>
                <c:pt idx="54">
                  <c:v>34882</c:v>
                </c:pt>
                <c:pt idx="55">
                  <c:v>35803</c:v>
                </c:pt>
                <c:pt idx="56">
                  <c:v>35106</c:v>
                </c:pt>
                <c:pt idx="57">
                  <c:v>43558</c:v>
                </c:pt>
                <c:pt idx="58">
                  <c:v>46788</c:v>
                </c:pt>
                <c:pt idx="59">
                  <c:v>29810</c:v>
                </c:pt>
                <c:pt idx="60">
                  <c:v>6107</c:v>
                </c:pt>
                <c:pt idx="61">
                  <c:v>4969</c:v>
                </c:pt>
                <c:pt idx="62">
                  <c:v>4004</c:v>
                </c:pt>
                <c:pt idx="63">
                  <c:v>7028</c:v>
                </c:pt>
                <c:pt idx="64">
                  <c:v>6685</c:v>
                </c:pt>
                <c:pt idx="65">
                  <c:v>100296</c:v>
                </c:pt>
                <c:pt idx="66">
                  <c:v>169562</c:v>
                </c:pt>
                <c:pt idx="67">
                  <c:v>174625</c:v>
                </c:pt>
                <c:pt idx="68">
                  <c:v>169767</c:v>
                </c:pt>
                <c:pt idx="69">
                  <c:v>189312</c:v>
                </c:pt>
                <c:pt idx="70">
                  <c:v>192631</c:v>
                </c:pt>
                <c:pt idx="71">
                  <c:v>190077</c:v>
                </c:pt>
                <c:pt idx="72">
                  <c:v>200202</c:v>
                </c:pt>
                <c:pt idx="73">
                  <c:v>198104</c:v>
                </c:pt>
                <c:pt idx="74">
                  <c:v>221368</c:v>
                </c:pt>
                <c:pt idx="75">
                  <c:v>203942</c:v>
                </c:pt>
                <c:pt idx="76">
                  <c:v>176322</c:v>
                </c:pt>
                <c:pt idx="77">
                  <c:v>25739</c:v>
                </c:pt>
                <c:pt idx="78">
                  <c:v>19453</c:v>
                </c:pt>
                <c:pt idx="79">
                  <c:v>19725</c:v>
                </c:pt>
                <c:pt idx="80">
                  <c:v>18298</c:v>
                </c:pt>
                <c:pt idx="81">
                  <c:v>14419</c:v>
                </c:pt>
                <c:pt idx="82">
                  <c:v>11887</c:v>
                </c:pt>
                <c:pt idx="83">
                  <c:v>12024</c:v>
                </c:pt>
                <c:pt idx="84">
                  <c:v>17675</c:v>
                </c:pt>
                <c:pt idx="85">
                  <c:v>20449</c:v>
                </c:pt>
                <c:pt idx="86">
                  <c:v>18456</c:v>
                </c:pt>
                <c:pt idx="87">
                  <c:v>11307</c:v>
                </c:pt>
                <c:pt idx="88">
                  <c:v>11625</c:v>
                </c:pt>
                <c:pt idx="89">
                  <c:v>8670</c:v>
                </c:pt>
                <c:pt idx="90">
                  <c:v>8910</c:v>
                </c:pt>
                <c:pt idx="91">
                  <c:v>11312</c:v>
                </c:pt>
                <c:pt idx="92">
                  <c:v>11317</c:v>
                </c:pt>
                <c:pt idx="93">
                  <c:v>14847</c:v>
                </c:pt>
                <c:pt idx="94">
                  <c:v>13990</c:v>
                </c:pt>
                <c:pt idx="95">
                  <c:v>12216</c:v>
                </c:pt>
                <c:pt idx="96">
                  <c:v>11640</c:v>
                </c:pt>
                <c:pt idx="97">
                  <c:v>11063</c:v>
                </c:pt>
                <c:pt idx="98">
                  <c:v>8849</c:v>
                </c:pt>
                <c:pt idx="99">
                  <c:v>6042</c:v>
                </c:pt>
                <c:pt idx="100">
                  <c:v>9490</c:v>
                </c:pt>
                <c:pt idx="101">
                  <c:v>25687</c:v>
                </c:pt>
                <c:pt idx="102">
                  <c:v>34614</c:v>
                </c:pt>
                <c:pt idx="103">
                  <c:v>24565</c:v>
                </c:pt>
                <c:pt idx="104">
                  <c:v>29584</c:v>
                </c:pt>
                <c:pt idx="105">
                  <c:v>23147</c:v>
                </c:pt>
                <c:pt idx="106">
                  <c:v>21492</c:v>
                </c:pt>
                <c:pt idx="107">
                  <c:v>1806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911</c:v>
                </c:pt>
                <c:pt idx="1">
                  <c:v>441986</c:v>
                </c:pt>
                <c:pt idx="2">
                  <c:v>434209</c:v>
                </c:pt>
                <c:pt idx="3">
                  <c:v>417587</c:v>
                </c:pt>
                <c:pt idx="4">
                  <c:v>431550</c:v>
                </c:pt>
                <c:pt idx="5">
                  <c:v>434905</c:v>
                </c:pt>
                <c:pt idx="6">
                  <c:v>416163</c:v>
                </c:pt>
                <c:pt idx="7">
                  <c:v>419733</c:v>
                </c:pt>
                <c:pt idx="8">
                  <c:v>449014</c:v>
                </c:pt>
                <c:pt idx="9">
                  <c:v>423226</c:v>
                </c:pt>
                <c:pt idx="10">
                  <c:v>404552</c:v>
                </c:pt>
                <c:pt idx="11">
                  <c:v>411834</c:v>
                </c:pt>
                <c:pt idx="12">
                  <c:v>442767</c:v>
                </c:pt>
                <c:pt idx="13">
                  <c:v>451584</c:v>
                </c:pt>
                <c:pt idx="14">
                  <c:v>385808</c:v>
                </c:pt>
                <c:pt idx="15">
                  <c:v>432512</c:v>
                </c:pt>
                <c:pt idx="16">
                  <c:v>442302</c:v>
                </c:pt>
                <c:pt idx="17">
                  <c:v>481458</c:v>
                </c:pt>
                <c:pt idx="18">
                  <c:v>452303</c:v>
                </c:pt>
                <c:pt idx="19">
                  <c:v>448738</c:v>
                </c:pt>
                <c:pt idx="20">
                  <c:v>478601</c:v>
                </c:pt>
                <c:pt idx="21">
                  <c:v>497958</c:v>
                </c:pt>
                <c:pt idx="22">
                  <c:v>506192</c:v>
                </c:pt>
                <c:pt idx="23">
                  <c:v>489588</c:v>
                </c:pt>
                <c:pt idx="24">
                  <c:v>477075</c:v>
                </c:pt>
                <c:pt idx="25">
                  <c:v>493300</c:v>
                </c:pt>
                <c:pt idx="26">
                  <c:v>511282</c:v>
                </c:pt>
                <c:pt idx="27">
                  <c:v>449689</c:v>
                </c:pt>
                <c:pt idx="28">
                  <c:v>424994</c:v>
                </c:pt>
                <c:pt idx="29">
                  <c:v>462940</c:v>
                </c:pt>
                <c:pt idx="30">
                  <c:v>506441</c:v>
                </c:pt>
                <c:pt idx="31">
                  <c:v>335267</c:v>
                </c:pt>
                <c:pt idx="32">
                  <c:v>119831</c:v>
                </c:pt>
                <c:pt idx="33">
                  <c:v>101776</c:v>
                </c:pt>
                <c:pt idx="34">
                  <c:v>100955</c:v>
                </c:pt>
                <c:pt idx="35">
                  <c:v>107664</c:v>
                </c:pt>
                <c:pt idx="36">
                  <c:v>104514</c:v>
                </c:pt>
                <c:pt idx="37">
                  <c:v>104757</c:v>
                </c:pt>
                <c:pt idx="38">
                  <c:v>107169</c:v>
                </c:pt>
                <c:pt idx="39">
                  <c:v>112322</c:v>
                </c:pt>
                <c:pt idx="40">
                  <c:v>104298</c:v>
                </c:pt>
                <c:pt idx="41">
                  <c:v>106578</c:v>
                </c:pt>
                <c:pt idx="42">
                  <c:v>108810</c:v>
                </c:pt>
                <c:pt idx="43">
                  <c:v>496957</c:v>
                </c:pt>
                <c:pt idx="44">
                  <c:v>493344</c:v>
                </c:pt>
                <c:pt idx="45">
                  <c:v>448622</c:v>
                </c:pt>
                <c:pt idx="46">
                  <c:v>410695</c:v>
                </c:pt>
                <c:pt idx="47">
                  <c:v>447917</c:v>
                </c:pt>
                <c:pt idx="48">
                  <c:v>448781</c:v>
                </c:pt>
                <c:pt idx="49">
                  <c:v>458663</c:v>
                </c:pt>
                <c:pt idx="50">
                  <c:v>497972</c:v>
                </c:pt>
                <c:pt idx="51">
                  <c:v>378868</c:v>
                </c:pt>
                <c:pt idx="52">
                  <c:v>432353</c:v>
                </c:pt>
                <c:pt idx="53">
                  <c:v>382225</c:v>
                </c:pt>
                <c:pt idx="54">
                  <c:v>402282</c:v>
                </c:pt>
                <c:pt idx="55">
                  <c:v>437517</c:v>
                </c:pt>
                <c:pt idx="56">
                  <c:v>445335</c:v>
                </c:pt>
                <c:pt idx="57">
                  <c:v>435631</c:v>
                </c:pt>
                <c:pt idx="58">
                  <c:v>369806</c:v>
                </c:pt>
                <c:pt idx="59">
                  <c:v>344945</c:v>
                </c:pt>
                <c:pt idx="60">
                  <c:v>400043</c:v>
                </c:pt>
                <c:pt idx="61">
                  <c:v>431297</c:v>
                </c:pt>
                <c:pt idx="62">
                  <c:v>413478</c:v>
                </c:pt>
                <c:pt idx="63">
                  <c:v>343873</c:v>
                </c:pt>
                <c:pt idx="64">
                  <c:v>378174</c:v>
                </c:pt>
                <c:pt idx="65">
                  <c:v>376893</c:v>
                </c:pt>
                <c:pt idx="66">
                  <c:v>357433</c:v>
                </c:pt>
                <c:pt idx="67">
                  <c:v>350317</c:v>
                </c:pt>
                <c:pt idx="68">
                  <c:v>358281</c:v>
                </c:pt>
                <c:pt idx="69">
                  <c:v>380698</c:v>
                </c:pt>
                <c:pt idx="70">
                  <c:v>383622</c:v>
                </c:pt>
                <c:pt idx="71">
                  <c:v>354303</c:v>
                </c:pt>
                <c:pt idx="72">
                  <c:v>389481</c:v>
                </c:pt>
                <c:pt idx="73">
                  <c:v>457501</c:v>
                </c:pt>
                <c:pt idx="74">
                  <c:v>496494</c:v>
                </c:pt>
                <c:pt idx="75">
                  <c:v>461475</c:v>
                </c:pt>
                <c:pt idx="76">
                  <c:v>462595</c:v>
                </c:pt>
                <c:pt idx="77">
                  <c:v>460993</c:v>
                </c:pt>
                <c:pt idx="78">
                  <c:v>497335</c:v>
                </c:pt>
                <c:pt idx="79">
                  <c:v>450335</c:v>
                </c:pt>
                <c:pt idx="80">
                  <c:v>440143</c:v>
                </c:pt>
                <c:pt idx="81">
                  <c:v>433984</c:v>
                </c:pt>
                <c:pt idx="82">
                  <c:v>454347</c:v>
                </c:pt>
                <c:pt idx="83">
                  <c:v>461380</c:v>
                </c:pt>
                <c:pt idx="84">
                  <c:v>457336</c:v>
                </c:pt>
                <c:pt idx="85">
                  <c:v>453474</c:v>
                </c:pt>
                <c:pt idx="86">
                  <c:v>450995</c:v>
                </c:pt>
                <c:pt idx="87">
                  <c:v>462887</c:v>
                </c:pt>
                <c:pt idx="88">
                  <c:v>432403</c:v>
                </c:pt>
                <c:pt idx="89">
                  <c:v>432241</c:v>
                </c:pt>
                <c:pt idx="90">
                  <c:v>413369</c:v>
                </c:pt>
                <c:pt idx="91">
                  <c:v>448846</c:v>
                </c:pt>
                <c:pt idx="92">
                  <c:v>347986</c:v>
                </c:pt>
                <c:pt idx="93">
                  <c:v>342606</c:v>
                </c:pt>
                <c:pt idx="94">
                  <c:v>380482</c:v>
                </c:pt>
                <c:pt idx="95">
                  <c:v>436493</c:v>
                </c:pt>
                <c:pt idx="96">
                  <c:v>450671</c:v>
                </c:pt>
                <c:pt idx="97">
                  <c:v>408268</c:v>
                </c:pt>
                <c:pt idx="98">
                  <c:v>353256</c:v>
                </c:pt>
                <c:pt idx="99">
                  <c:v>287669</c:v>
                </c:pt>
                <c:pt idx="100">
                  <c:v>302999</c:v>
                </c:pt>
                <c:pt idx="101">
                  <c:v>346731</c:v>
                </c:pt>
                <c:pt idx="102">
                  <c:v>395528</c:v>
                </c:pt>
                <c:pt idx="103">
                  <c:v>339216</c:v>
                </c:pt>
                <c:pt idx="104">
                  <c:v>357984</c:v>
                </c:pt>
                <c:pt idx="105">
                  <c:v>337329</c:v>
                </c:pt>
                <c:pt idx="106">
                  <c:v>355256</c:v>
                </c:pt>
                <c:pt idx="107">
                  <c:v>31933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185</c:v>
                </c:pt>
                <c:pt idx="1">
                  <c:v>80746</c:v>
                </c:pt>
                <c:pt idx="2">
                  <c:v>82014</c:v>
                </c:pt>
                <c:pt idx="3">
                  <c:v>54784</c:v>
                </c:pt>
                <c:pt idx="4">
                  <c:v>44745</c:v>
                </c:pt>
                <c:pt idx="5">
                  <c:v>53000</c:v>
                </c:pt>
                <c:pt idx="6">
                  <c:v>58130</c:v>
                </c:pt>
                <c:pt idx="7">
                  <c:v>99523</c:v>
                </c:pt>
                <c:pt idx="8">
                  <c:v>75798</c:v>
                </c:pt>
                <c:pt idx="9">
                  <c:v>70561</c:v>
                </c:pt>
                <c:pt idx="10">
                  <c:v>74615</c:v>
                </c:pt>
                <c:pt idx="11">
                  <c:v>85430</c:v>
                </c:pt>
                <c:pt idx="12">
                  <c:v>14154</c:v>
                </c:pt>
                <c:pt idx="13">
                  <c:v>48383</c:v>
                </c:pt>
                <c:pt idx="14">
                  <c:v>67934</c:v>
                </c:pt>
                <c:pt idx="15">
                  <c:v>68705</c:v>
                </c:pt>
                <c:pt idx="16">
                  <c:v>18432</c:v>
                </c:pt>
                <c:pt idx="17">
                  <c:v>5089</c:v>
                </c:pt>
                <c:pt idx="18">
                  <c:v>3401</c:v>
                </c:pt>
                <c:pt idx="19">
                  <c:v>2687</c:v>
                </c:pt>
                <c:pt idx="20">
                  <c:v>3307</c:v>
                </c:pt>
                <c:pt idx="21">
                  <c:v>2430</c:v>
                </c:pt>
                <c:pt idx="22">
                  <c:v>1991</c:v>
                </c:pt>
                <c:pt idx="23">
                  <c:v>1280</c:v>
                </c:pt>
                <c:pt idx="24">
                  <c:v>2517</c:v>
                </c:pt>
                <c:pt idx="25">
                  <c:v>3188</c:v>
                </c:pt>
                <c:pt idx="26">
                  <c:v>982</c:v>
                </c:pt>
                <c:pt idx="27">
                  <c:v>48095</c:v>
                </c:pt>
                <c:pt idx="28">
                  <c:v>96121</c:v>
                </c:pt>
                <c:pt idx="29">
                  <c:v>23825</c:v>
                </c:pt>
                <c:pt idx="30">
                  <c:v>14780</c:v>
                </c:pt>
                <c:pt idx="31">
                  <c:v>180545</c:v>
                </c:pt>
                <c:pt idx="32">
                  <c:v>430466</c:v>
                </c:pt>
                <c:pt idx="33">
                  <c:v>436791</c:v>
                </c:pt>
                <c:pt idx="34">
                  <c:v>436720</c:v>
                </c:pt>
                <c:pt idx="35">
                  <c:v>429262</c:v>
                </c:pt>
                <c:pt idx="36">
                  <c:v>407708</c:v>
                </c:pt>
                <c:pt idx="37">
                  <c:v>397811</c:v>
                </c:pt>
                <c:pt idx="38">
                  <c:v>398843</c:v>
                </c:pt>
                <c:pt idx="39">
                  <c:v>424494</c:v>
                </c:pt>
                <c:pt idx="40">
                  <c:v>439975</c:v>
                </c:pt>
                <c:pt idx="41">
                  <c:v>433388</c:v>
                </c:pt>
                <c:pt idx="42">
                  <c:v>411825</c:v>
                </c:pt>
                <c:pt idx="43">
                  <c:v>45306</c:v>
                </c:pt>
                <c:pt idx="44">
                  <c:v>41643</c:v>
                </c:pt>
                <c:pt idx="45">
                  <c:v>51449</c:v>
                </c:pt>
                <c:pt idx="46">
                  <c:v>78405</c:v>
                </c:pt>
                <c:pt idx="47">
                  <c:v>89743</c:v>
                </c:pt>
                <c:pt idx="48">
                  <c:v>147124</c:v>
                </c:pt>
                <c:pt idx="49">
                  <c:v>171099</c:v>
                </c:pt>
                <c:pt idx="50">
                  <c:v>277219</c:v>
                </c:pt>
                <c:pt idx="51">
                  <c:v>464196</c:v>
                </c:pt>
                <c:pt idx="52">
                  <c:v>20536</c:v>
                </c:pt>
                <c:pt idx="53">
                  <c:v>41234</c:v>
                </c:pt>
                <c:pt idx="54">
                  <c:v>21881</c:v>
                </c:pt>
                <c:pt idx="55">
                  <c:v>10193</c:v>
                </c:pt>
                <c:pt idx="56">
                  <c:v>20994</c:v>
                </c:pt>
                <c:pt idx="57">
                  <c:v>35115</c:v>
                </c:pt>
                <c:pt idx="58">
                  <c:v>72353</c:v>
                </c:pt>
                <c:pt idx="59">
                  <c:v>180969</c:v>
                </c:pt>
                <c:pt idx="60">
                  <c:v>94740</c:v>
                </c:pt>
                <c:pt idx="61">
                  <c:v>50797</c:v>
                </c:pt>
                <c:pt idx="62">
                  <c:v>39350</c:v>
                </c:pt>
                <c:pt idx="63">
                  <c:v>150015</c:v>
                </c:pt>
                <c:pt idx="64">
                  <c:v>106043</c:v>
                </c:pt>
                <c:pt idx="65">
                  <c:v>98612</c:v>
                </c:pt>
                <c:pt idx="66">
                  <c:v>103937</c:v>
                </c:pt>
                <c:pt idx="67">
                  <c:v>147112</c:v>
                </c:pt>
                <c:pt idx="68">
                  <c:v>96489</c:v>
                </c:pt>
                <c:pt idx="69">
                  <c:v>98639</c:v>
                </c:pt>
                <c:pt idx="70">
                  <c:v>88122</c:v>
                </c:pt>
                <c:pt idx="71">
                  <c:v>97597</c:v>
                </c:pt>
                <c:pt idx="72">
                  <c:v>108552</c:v>
                </c:pt>
                <c:pt idx="73">
                  <c:v>1054</c:v>
                </c:pt>
                <c:pt idx="74">
                  <c:v>1382</c:v>
                </c:pt>
                <c:pt idx="75">
                  <c:v>1408</c:v>
                </c:pt>
                <c:pt idx="76">
                  <c:v>2426</c:v>
                </c:pt>
                <c:pt idx="77">
                  <c:v>892</c:v>
                </c:pt>
                <c:pt idx="78">
                  <c:v>1976</c:v>
                </c:pt>
                <c:pt idx="79">
                  <c:v>12789</c:v>
                </c:pt>
                <c:pt idx="80">
                  <c:v>23135</c:v>
                </c:pt>
                <c:pt idx="81">
                  <c:v>23432</c:v>
                </c:pt>
                <c:pt idx="82">
                  <c:v>21758</c:v>
                </c:pt>
                <c:pt idx="83">
                  <c:v>6942</c:v>
                </c:pt>
                <c:pt idx="84">
                  <c:v>6490</c:v>
                </c:pt>
                <c:pt idx="85">
                  <c:v>1049</c:v>
                </c:pt>
                <c:pt idx="86">
                  <c:v>4642</c:v>
                </c:pt>
                <c:pt idx="87">
                  <c:v>1129</c:v>
                </c:pt>
                <c:pt idx="88">
                  <c:v>1461</c:v>
                </c:pt>
                <c:pt idx="89">
                  <c:v>1183</c:v>
                </c:pt>
                <c:pt idx="90">
                  <c:v>17267</c:v>
                </c:pt>
                <c:pt idx="91">
                  <c:v>52293</c:v>
                </c:pt>
                <c:pt idx="92">
                  <c:v>109867</c:v>
                </c:pt>
                <c:pt idx="93">
                  <c:v>141039</c:v>
                </c:pt>
                <c:pt idx="94">
                  <c:v>91789</c:v>
                </c:pt>
                <c:pt idx="95">
                  <c:v>40955</c:v>
                </c:pt>
                <c:pt idx="96">
                  <c:v>52248</c:v>
                </c:pt>
                <c:pt idx="97">
                  <c:v>87200</c:v>
                </c:pt>
                <c:pt idx="98">
                  <c:v>149154</c:v>
                </c:pt>
                <c:pt idx="99">
                  <c:v>226282</c:v>
                </c:pt>
                <c:pt idx="100">
                  <c:v>304207</c:v>
                </c:pt>
                <c:pt idx="101">
                  <c:v>288847</c:v>
                </c:pt>
                <c:pt idx="102">
                  <c:v>325240</c:v>
                </c:pt>
                <c:pt idx="103">
                  <c:v>609797</c:v>
                </c:pt>
                <c:pt idx="104">
                  <c:v>91949</c:v>
                </c:pt>
                <c:pt idx="105">
                  <c:v>75389</c:v>
                </c:pt>
                <c:pt idx="106">
                  <c:v>72443</c:v>
                </c:pt>
                <c:pt idx="107">
                  <c:v>6503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5</c:v>
                </c:pt>
                <c:pt idx="101">
                  <c:v>20</c:v>
                </c:pt>
                <c:pt idx="102">
                  <c:v>10</c:v>
                </c:pt>
                <c:pt idx="103">
                  <c:v>0</c:v>
                </c:pt>
                <c:pt idx="104">
                  <c:v>5</c:v>
                </c:pt>
                <c:pt idx="105">
                  <c:v>5</c:v>
                </c:pt>
                <c:pt idx="106">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32</c:v>
                </c:pt>
                <c:pt idx="101">
                  <c:v>10</c:v>
                </c:pt>
                <c:pt idx="102">
                  <c:v>36</c:v>
                </c:pt>
                <c:pt idx="103">
                  <c:v>62</c:v>
                </c:pt>
                <c:pt idx="104">
                  <c:v>190</c:v>
                </c:pt>
                <c:pt idx="105">
                  <c:v>922</c:v>
                </c:pt>
                <c:pt idx="106">
                  <c:v>159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8</c:v>
                </c:pt>
                <c:pt idx="101">
                  <c:v>10</c:v>
                </c:pt>
                <c:pt idx="102">
                  <c:v>0</c:v>
                </c:pt>
                <c:pt idx="103">
                  <c:v>8</c:v>
                </c:pt>
                <c:pt idx="104">
                  <c:v>4</c:v>
                </c:pt>
                <c:pt idx="105">
                  <c:v>14</c:v>
                </c:pt>
                <c:pt idx="106">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0</c:v>
                </c:pt>
                <c:pt idx="101">
                  <c:v>5</c:v>
                </c:pt>
                <c:pt idx="102">
                  <c:v>20</c:v>
                </c:pt>
                <c:pt idx="103">
                  <c:v>10</c:v>
                </c:pt>
                <c:pt idx="104">
                  <c:v>0</c:v>
                </c:pt>
                <c:pt idx="105">
                  <c:v>5</c:v>
                </c:pt>
                <c:pt idx="106">
                  <c:v>5</c:v>
                </c:pt>
                <c:pt idx="107">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450</c:v>
                </c:pt>
                <c:pt idx="1">
                  <c:v>90402</c:v>
                </c:pt>
                <c:pt idx="2">
                  <c:v>92029</c:v>
                </c:pt>
                <c:pt idx="3">
                  <c:v>90466</c:v>
                </c:pt>
                <c:pt idx="4">
                  <c:v>93722</c:v>
                </c:pt>
                <c:pt idx="5">
                  <c:v>89629</c:v>
                </c:pt>
                <c:pt idx="6">
                  <c:v>83585</c:v>
                </c:pt>
                <c:pt idx="7">
                  <c:v>85016</c:v>
                </c:pt>
                <c:pt idx="8">
                  <c:v>92907</c:v>
                </c:pt>
                <c:pt idx="9">
                  <c:v>85455</c:v>
                </c:pt>
                <c:pt idx="10">
                  <c:v>85414</c:v>
                </c:pt>
                <c:pt idx="11">
                  <c:v>86377</c:v>
                </c:pt>
                <c:pt idx="12">
                  <c:v>83839</c:v>
                </c:pt>
                <c:pt idx="13">
                  <c:v>92333</c:v>
                </c:pt>
                <c:pt idx="14">
                  <c:v>80286</c:v>
                </c:pt>
                <c:pt idx="15">
                  <c:v>82212</c:v>
                </c:pt>
                <c:pt idx="16">
                  <c:v>82434</c:v>
                </c:pt>
                <c:pt idx="17">
                  <c:v>94186</c:v>
                </c:pt>
                <c:pt idx="18">
                  <c:v>89026</c:v>
                </c:pt>
                <c:pt idx="19">
                  <c:v>87068</c:v>
                </c:pt>
                <c:pt idx="20">
                  <c:v>95003</c:v>
                </c:pt>
                <c:pt idx="21">
                  <c:v>97486</c:v>
                </c:pt>
                <c:pt idx="22">
                  <c:v>96907</c:v>
                </c:pt>
                <c:pt idx="23">
                  <c:v>93922</c:v>
                </c:pt>
                <c:pt idx="24">
                  <c:v>93132</c:v>
                </c:pt>
                <c:pt idx="25">
                  <c:v>94456</c:v>
                </c:pt>
                <c:pt idx="26">
                  <c:v>97816</c:v>
                </c:pt>
                <c:pt idx="27">
                  <c:v>88651</c:v>
                </c:pt>
                <c:pt idx="28">
                  <c:v>86317</c:v>
                </c:pt>
                <c:pt idx="29">
                  <c:v>84994</c:v>
                </c:pt>
                <c:pt idx="30">
                  <c:v>90949</c:v>
                </c:pt>
                <c:pt idx="31">
                  <c:v>85833</c:v>
                </c:pt>
                <c:pt idx="32">
                  <c:v>87421</c:v>
                </c:pt>
                <c:pt idx="33">
                  <c:v>83904</c:v>
                </c:pt>
                <c:pt idx="34">
                  <c:v>85570</c:v>
                </c:pt>
                <c:pt idx="35">
                  <c:v>91155</c:v>
                </c:pt>
                <c:pt idx="36">
                  <c:v>90311</c:v>
                </c:pt>
                <c:pt idx="37">
                  <c:v>87960</c:v>
                </c:pt>
                <c:pt idx="38">
                  <c:v>83702</c:v>
                </c:pt>
                <c:pt idx="39">
                  <c:v>83889</c:v>
                </c:pt>
                <c:pt idx="40">
                  <c:v>72209</c:v>
                </c:pt>
                <c:pt idx="41">
                  <c:v>72787</c:v>
                </c:pt>
                <c:pt idx="42">
                  <c:v>72251</c:v>
                </c:pt>
                <c:pt idx="43">
                  <c:v>76903</c:v>
                </c:pt>
                <c:pt idx="44">
                  <c:v>85286</c:v>
                </c:pt>
                <c:pt idx="45">
                  <c:v>84770</c:v>
                </c:pt>
                <c:pt idx="46">
                  <c:v>79290</c:v>
                </c:pt>
                <c:pt idx="47">
                  <c:v>82584</c:v>
                </c:pt>
                <c:pt idx="48">
                  <c:v>86697</c:v>
                </c:pt>
                <c:pt idx="49">
                  <c:v>80942</c:v>
                </c:pt>
                <c:pt idx="50">
                  <c:v>85038</c:v>
                </c:pt>
                <c:pt idx="51">
                  <c:v>59207</c:v>
                </c:pt>
                <c:pt idx="52">
                  <c:v>70361</c:v>
                </c:pt>
                <c:pt idx="53">
                  <c:v>73694</c:v>
                </c:pt>
                <c:pt idx="54">
                  <c:v>87469</c:v>
                </c:pt>
                <c:pt idx="55">
                  <c:v>96817</c:v>
                </c:pt>
                <c:pt idx="56">
                  <c:v>89581</c:v>
                </c:pt>
                <c:pt idx="57">
                  <c:v>79347</c:v>
                </c:pt>
                <c:pt idx="58">
                  <c:v>68612</c:v>
                </c:pt>
                <c:pt idx="59">
                  <c:v>65512</c:v>
                </c:pt>
                <c:pt idx="60">
                  <c:v>65189</c:v>
                </c:pt>
                <c:pt idx="61">
                  <c:v>64865</c:v>
                </c:pt>
                <c:pt idx="62">
                  <c:v>69450</c:v>
                </c:pt>
                <c:pt idx="63">
                  <c:v>79508</c:v>
                </c:pt>
                <c:pt idx="64">
                  <c:v>81883</c:v>
                </c:pt>
                <c:pt idx="65">
                  <c:v>82500</c:v>
                </c:pt>
                <c:pt idx="66">
                  <c:v>78944</c:v>
                </c:pt>
                <c:pt idx="67">
                  <c:v>77756</c:v>
                </c:pt>
                <c:pt idx="68">
                  <c:v>77908</c:v>
                </c:pt>
                <c:pt idx="69">
                  <c:v>81800</c:v>
                </c:pt>
                <c:pt idx="70">
                  <c:v>80072</c:v>
                </c:pt>
                <c:pt idx="71">
                  <c:v>76579</c:v>
                </c:pt>
                <c:pt idx="72">
                  <c:v>91422</c:v>
                </c:pt>
                <c:pt idx="73">
                  <c:v>98330</c:v>
                </c:pt>
                <c:pt idx="74">
                  <c:v>104843</c:v>
                </c:pt>
                <c:pt idx="75">
                  <c:v>100263</c:v>
                </c:pt>
                <c:pt idx="76">
                  <c:v>99287</c:v>
                </c:pt>
                <c:pt idx="77">
                  <c:v>99414</c:v>
                </c:pt>
                <c:pt idx="78">
                  <c:v>108565</c:v>
                </c:pt>
                <c:pt idx="79">
                  <c:v>89339</c:v>
                </c:pt>
                <c:pt idx="80">
                  <c:v>83627</c:v>
                </c:pt>
                <c:pt idx="81">
                  <c:v>79475</c:v>
                </c:pt>
                <c:pt idx="82">
                  <c:v>83906</c:v>
                </c:pt>
                <c:pt idx="83">
                  <c:v>95696</c:v>
                </c:pt>
                <c:pt idx="84">
                  <c:v>95067</c:v>
                </c:pt>
                <c:pt idx="85">
                  <c:v>97989</c:v>
                </c:pt>
                <c:pt idx="86">
                  <c:v>93908</c:v>
                </c:pt>
                <c:pt idx="87">
                  <c:v>98511</c:v>
                </c:pt>
                <c:pt idx="88">
                  <c:v>91856</c:v>
                </c:pt>
                <c:pt idx="89">
                  <c:v>92940</c:v>
                </c:pt>
                <c:pt idx="90">
                  <c:v>85187</c:v>
                </c:pt>
                <c:pt idx="91">
                  <c:v>93105</c:v>
                </c:pt>
                <c:pt idx="92">
                  <c:v>75556</c:v>
                </c:pt>
                <c:pt idx="93">
                  <c:v>72755</c:v>
                </c:pt>
                <c:pt idx="94">
                  <c:v>81165</c:v>
                </c:pt>
                <c:pt idx="95">
                  <c:v>90943</c:v>
                </c:pt>
                <c:pt idx="96">
                  <c:v>96055</c:v>
                </c:pt>
                <c:pt idx="97">
                  <c:v>72278</c:v>
                </c:pt>
                <c:pt idx="98">
                  <c:v>23330</c:v>
                </c:pt>
                <c:pt idx="99">
                  <c:v>22143</c:v>
                </c:pt>
                <c:pt idx="100">
                  <c:v>24683</c:v>
                </c:pt>
                <c:pt idx="101">
                  <c:v>23055</c:v>
                </c:pt>
                <c:pt idx="102">
                  <c:v>25078</c:v>
                </c:pt>
                <c:pt idx="103">
                  <c:v>25626</c:v>
                </c:pt>
                <c:pt idx="104">
                  <c:v>21307</c:v>
                </c:pt>
                <c:pt idx="105">
                  <c:v>21189</c:v>
                </c:pt>
                <c:pt idx="106">
                  <c:v>24874</c:v>
                </c:pt>
                <c:pt idx="107">
                  <c:v>2461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72</c:v>
                </c:pt>
                <c:pt idx="1">
                  <c:v>37906</c:v>
                </c:pt>
                <c:pt idx="2">
                  <c:v>46880</c:v>
                </c:pt>
                <c:pt idx="3">
                  <c:v>29094</c:v>
                </c:pt>
                <c:pt idx="4">
                  <c:v>17969</c:v>
                </c:pt>
                <c:pt idx="5">
                  <c:v>22358</c:v>
                </c:pt>
                <c:pt idx="6">
                  <c:v>21109</c:v>
                </c:pt>
                <c:pt idx="7">
                  <c:v>24565</c:v>
                </c:pt>
                <c:pt idx="8">
                  <c:v>14970</c:v>
                </c:pt>
                <c:pt idx="9">
                  <c:v>14080</c:v>
                </c:pt>
                <c:pt idx="10">
                  <c:v>18131</c:v>
                </c:pt>
                <c:pt idx="11">
                  <c:v>14440</c:v>
                </c:pt>
                <c:pt idx="12">
                  <c:v>11791</c:v>
                </c:pt>
                <c:pt idx="13">
                  <c:v>11226</c:v>
                </c:pt>
                <c:pt idx="14">
                  <c:v>11741</c:v>
                </c:pt>
                <c:pt idx="15">
                  <c:v>18786</c:v>
                </c:pt>
                <c:pt idx="16">
                  <c:v>10885</c:v>
                </c:pt>
                <c:pt idx="17">
                  <c:v>2857</c:v>
                </c:pt>
                <c:pt idx="18">
                  <c:v>1321</c:v>
                </c:pt>
                <c:pt idx="19">
                  <c:v>1215</c:v>
                </c:pt>
                <c:pt idx="20">
                  <c:v>2252</c:v>
                </c:pt>
                <c:pt idx="21">
                  <c:v>657</c:v>
                </c:pt>
                <c:pt idx="22">
                  <c:v>484</c:v>
                </c:pt>
                <c:pt idx="23">
                  <c:v>900</c:v>
                </c:pt>
                <c:pt idx="24">
                  <c:v>542</c:v>
                </c:pt>
                <c:pt idx="25">
                  <c:v>486</c:v>
                </c:pt>
                <c:pt idx="26">
                  <c:v>451</c:v>
                </c:pt>
                <c:pt idx="27">
                  <c:v>7863</c:v>
                </c:pt>
                <c:pt idx="28">
                  <c:v>19149</c:v>
                </c:pt>
                <c:pt idx="29">
                  <c:v>15041</c:v>
                </c:pt>
                <c:pt idx="30">
                  <c:v>14494</c:v>
                </c:pt>
                <c:pt idx="31">
                  <c:v>13017</c:v>
                </c:pt>
                <c:pt idx="32">
                  <c:v>12478</c:v>
                </c:pt>
                <c:pt idx="33">
                  <c:v>13304</c:v>
                </c:pt>
                <c:pt idx="34">
                  <c:v>14924</c:v>
                </c:pt>
                <c:pt idx="35">
                  <c:v>6016</c:v>
                </c:pt>
                <c:pt idx="36">
                  <c:v>773</c:v>
                </c:pt>
                <c:pt idx="37">
                  <c:v>391</c:v>
                </c:pt>
                <c:pt idx="38">
                  <c:v>5692</c:v>
                </c:pt>
                <c:pt idx="39">
                  <c:v>9825</c:v>
                </c:pt>
                <c:pt idx="40">
                  <c:v>22331</c:v>
                </c:pt>
                <c:pt idx="41">
                  <c:v>26820</c:v>
                </c:pt>
                <c:pt idx="42">
                  <c:v>26380</c:v>
                </c:pt>
                <c:pt idx="43">
                  <c:v>25008</c:v>
                </c:pt>
                <c:pt idx="44">
                  <c:v>17327</c:v>
                </c:pt>
                <c:pt idx="45">
                  <c:v>19555</c:v>
                </c:pt>
                <c:pt idx="46">
                  <c:v>31929</c:v>
                </c:pt>
                <c:pt idx="47">
                  <c:v>31529</c:v>
                </c:pt>
                <c:pt idx="48">
                  <c:v>41962</c:v>
                </c:pt>
                <c:pt idx="49">
                  <c:v>77019</c:v>
                </c:pt>
                <c:pt idx="50">
                  <c:v>133706</c:v>
                </c:pt>
                <c:pt idx="51">
                  <c:v>248232</c:v>
                </c:pt>
                <c:pt idx="52">
                  <c:v>34844</c:v>
                </c:pt>
                <c:pt idx="53">
                  <c:v>27118</c:v>
                </c:pt>
                <c:pt idx="54">
                  <c:v>18729</c:v>
                </c:pt>
                <c:pt idx="55">
                  <c:v>11129</c:v>
                </c:pt>
                <c:pt idx="56">
                  <c:v>20774</c:v>
                </c:pt>
                <c:pt idx="57">
                  <c:v>34174</c:v>
                </c:pt>
                <c:pt idx="58">
                  <c:v>38165</c:v>
                </c:pt>
                <c:pt idx="59">
                  <c:v>60032</c:v>
                </c:pt>
                <c:pt idx="60">
                  <c:v>52796</c:v>
                </c:pt>
                <c:pt idx="61">
                  <c:v>48706</c:v>
                </c:pt>
                <c:pt idx="62">
                  <c:v>38511</c:v>
                </c:pt>
                <c:pt idx="63">
                  <c:v>30702</c:v>
                </c:pt>
                <c:pt idx="64">
                  <c:v>23867</c:v>
                </c:pt>
                <c:pt idx="65">
                  <c:v>24160</c:v>
                </c:pt>
                <c:pt idx="66">
                  <c:v>23147</c:v>
                </c:pt>
                <c:pt idx="67">
                  <c:v>26906</c:v>
                </c:pt>
                <c:pt idx="68">
                  <c:v>19945</c:v>
                </c:pt>
                <c:pt idx="69">
                  <c:v>20792</c:v>
                </c:pt>
                <c:pt idx="70">
                  <c:v>19828</c:v>
                </c:pt>
                <c:pt idx="71">
                  <c:v>19666</c:v>
                </c:pt>
                <c:pt idx="72">
                  <c:v>13800</c:v>
                </c:pt>
                <c:pt idx="73">
                  <c:v>283</c:v>
                </c:pt>
                <c:pt idx="74">
                  <c:v>422</c:v>
                </c:pt>
                <c:pt idx="75">
                  <c:v>369</c:v>
                </c:pt>
                <c:pt idx="76">
                  <c:v>729</c:v>
                </c:pt>
                <c:pt idx="77">
                  <c:v>246</c:v>
                </c:pt>
                <c:pt idx="78">
                  <c:v>680</c:v>
                </c:pt>
                <c:pt idx="79">
                  <c:v>11671</c:v>
                </c:pt>
                <c:pt idx="80">
                  <c:v>21933</c:v>
                </c:pt>
                <c:pt idx="81">
                  <c:v>22236</c:v>
                </c:pt>
                <c:pt idx="82">
                  <c:v>20768</c:v>
                </c:pt>
                <c:pt idx="83">
                  <c:v>5914</c:v>
                </c:pt>
                <c:pt idx="84">
                  <c:v>4807</c:v>
                </c:pt>
                <c:pt idx="85">
                  <c:v>356</c:v>
                </c:pt>
                <c:pt idx="86">
                  <c:v>3278</c:v>
                </c:pt>
                <c:pt idx="87">
                  <c:v>455</c:v>
                </c:pt>
                <c:pt idx="88">
                  <c:v>525</c:v>
                </c:pt>
                <c:pt idx="89">
                  <c:v>425</c:v>
                </c:pt>
                <c:pt idx="90">
                  <c:v>5691</c:v>
                </c:pt>
                <c:pt idx="91">
                  <c:v>12529</c:v>
                </c:pt>
                <c:pt idx="92">
                  <c:v>23342</c:v>
                </c:pt>
                <c:pt idx="93">
                  <c:v>31967</c:v>
                </c:pt>
                <c:pt idx="94">
                  <c:v>20891</c:v>
                </c:pt>
                <c:pt idx="95">
                  <c:v>10671</c:v>
                </c:pt>
                <c:pt idx="96">
                  <c:v>13507</c:v>
                </c:pt>
                <c:pt idx="97">
                  <c:v>39682</c:v>
                </c:pt>
                <c:pt idx="98">
                  <c:v>93818</c:v>
                </c:pt>
                <c:pt idx="99">
                  <c:v>103439</c:v>
                </c:pt>
                <c:pt idx="100">
                  <c:v>114095</c:v>
                </c:pt>
                <c:pt idx="101">
                  <c:v>129821</c:v>
                </c:pt>
                <c:pt idx="102">
                  <c:v>164996</c:v>
                </c:pt>
                <c:pt idx="103">
                  <c:v>275385</c:v>
                </c:pt>
                <c:pt idx="104">
                  <c:v>84730</c:v>
                </c:pt>
                <c:pt idx="105">
                  <c:v>73287</c:v>
                </c:pt>
                <c:pt idx="106">
                  <c:v>71775</c:v>
                </c:pt>
                <c:pt idx="107">
                  <c:v>6396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61566</c:v>
                </c:pt>
                <c:pt idx="1">
                  <c:v>61170</c:v>
                </c:pt>
                <c:pt idx="2">
                  <c:v>66702</c:v>
                </c:pt>
                <c:pt idx="3">
                  <c:v>67722</c:v>
                </c:pt>
                <c:pt idx="4">
                  <c:v>71638</c:v>
                </c:pt>
                <c:pt idx="5">
                  <c:v>69750</c:v>
                </c:pt>
                <c:pt idx="6">
                  <c:v>63344</c:v>
                </c:pt>
                <c:pt idx="7">
                  <c:v>61562</c:v>
                </c:pt>
                <c:pt idx="8">
                  <c:v>59626</c:v>
                </c:pt>
                <c:pt idx="9">
                  <c:v>56366</c:v>
                </c:pt>
                <c:pt idx="10">
                  <c:v>44254</c:v>
                </c:pt>
                <c:pt idx="11">
                  <c:v>37130</c:v>
                </c:pt>
                <c:pt idx="12">
                  <c:v>29910</c:v>
                </c:pt>
                <c:pt idx="13">
                  <c:v>26064</c:v>
                </c:pt>
                <c:pt idx="14">
                  <c:v>20988</c:v>
                </c:pt>
                <c:pt idx="15">
                  <c:v>48042</c:v>
                </c:pt>
                <c:pt idx="16">
                  <c:v>71042</c:v>
                </c:pt>
                <c:pt idx="17">
                  <c:v>80096</c:v>
                </c:pt>
                <c:pt idx="18">
                  <c:v>77012</c:v>
                </c:pt>
                <c:pt idx="19">
                  <c:v>76214</c:v>
                </c:pt>
                <c:pt idx="20">
                  <c:v>79650</c:v>
                </c:pt>
                <c:pt idx="21">
                  <c:v>84564</c:v>
                </c:pt>
                <c:pt idx="22">
                  <c:v>84620</c:v>
                </c:pt>
                <c:pt idx="23">
                  <c:v>82700</c:v>
                </c:pt>
                <c:pt idx="24">
                  <c:v>80707</c:v>
                </c:pt>
                <c:pt idx="25">
                  <c:v>84221</c:v>
                </c:pt>
                <c:pt idx="26">
                  <c:v>86608</c:v>
                </c:pt>
                <c:pt idx="27">
                  <c:v>84202</c:v>
                </c:pt>
                <c:pt idx="28">
                  <c:v>82800</c:v>
                </c:pt>
                <c:pt idx="29">
                  <c:v>81044</c:v>
                </c:pt>
                <c:pt idx="30">
                  <c:v>89110</c:v>
                </c:pt>
                <c:pt idx="31">
                  <c:v>84362</c:v>
                </c:pt>
                <c:pt idx="32">
                  <c:v>84124</c:v>
                </c:pt>
                <c:pt idx="33">
                  <c:v>82090</c:v>
                </c:pt>
                <c:pt idx="34">
                  <c:v>83732</c:v>
                </c:pt>
                <c:pt idx="35">
                  <c:v>82390</c:v>
                </c:pt>
                <c:pt idx="36">
                  <c:v>76510</c:v>
                </c:pt>
                <c:pt idx="37">
                  <c:v>77684</c:v>
                </c:pt>
                <c:pt idx="38">
                  <c:v>77686</c:v>
                </c:pt>
                <c:pt idx="39">
                  <c:v>81302</c:v>
                </c:pt>
                <c:pt idx="40">
                  <c:v>77286</c:v>
                </c:pt>
                <c:pt idx="41">
                  <c:v>76338</c:v>
                </c:pt>
                <c:pt idx="42">
                  <c:v>76620</c:v>
                </c:pt>
                <c:pt idx="43">
                  <c:v>80000</c:v>
                </c:pt>
                <c:pt idx="44">
                  <c:v>81822</c:v>
                </c:pt>
                <c:pt idx="45">
                  <c:v>77134</c:v>
                </c:pt>
                <c:pt idx="46">
                  <c:v>73362</c:v>
                </c:pt>
                <c:pt idx="47">
                  <c:v>80000</c:v>
                </c:pt>
                <c:pt idx="48">
                  <c:v>83452</c:v>
                </c:pt>
                <c:pt idx="49">
                  <c:v>81266</c:v>
                </c:pt>
                <c:pt idx="50">
                  <c:v>93586</c:v>
                </c:pt>
                <c:pt idx="51">
                  <c:v>71960</c:v>
                </c:pt>
                <c:pt idx="52">
                  <c:v>82048</c:v>
                </c:pt>
                <c:pt idx="53">
                  <c:v>77178</c:v>
                </c:pt>
                <c:pt idx="54">
                  <c:v>71580</c:v>
                </c:pt>
                <c:pt idx="55">
                  <c:v>74456</c:v>
                </c:pt>
                <c:pt idx="56">
                  <c:v>76648</c:v>
                </c:pt>
                <c:pt idx="57">
                  <c:v>77172</c:v>
                </c:pt>
                <c:pt idx="58">
                  <c:v>73668</c:v>
                </c:pt>
                <c:pt idx="59">
                  <c:v>77524</c:v>
                </c:pt>
                <c:pt idx="60">
                  <c:v>81326</c:v>
                </c:pt>
                <c:pt idx="61">
                  <c:v>81752</c:v>
                </c:pt>
                <c:pt idx="62">
                  <c:v>77696</c:v>
                </c:pt>
                <c:pt idx="63">
                  <c:v>73984</c:v>
                </c:pt>
                <c:pt idx="64">
                  <c:v>76520</c:v>
                </c:pt>
                <c:pt idx="65">
                  <c:v>79506</c:v>
                </c:pt>
                <c:pt idx="66">
                  <c:v>79171</c:v>
                </c:pt>
                <c:pt idx="67">
                  <c:v>79030</c:v>
                </c:pt>
                <c:pt idx="68">
                  <c:v>76806</c:v>
                </c:pt>
                <c:pt idx="69">
                  <c:v>82506</c:v>
                </c:pt>
                <c:pt idx="70">
                  <c:v>80032</c:v>
                </c:pt>
                <c:pt idx="71">
                  <c:v>74224</c:v>
                </c:pt>
                <c:pt idx="72">
                  <c:v>79198</c:v>
                </c:pt>
                <c:pt idx="73">
                  <c:v>77378</c:v>
                </c:pt>
                <c:pt idx="74">
                  <c:v>85692</c:v>
                </c:pt>
                <c:pt idx="75">
                  <c:v>79574</c:v>
                </c:pt>
                <c:pt idx="76">
                  <c:v>79338</c:v>
                </c:pt>
                <c:pt idx="77">
                  <c:v>76834</c:v>
                </c:pt>
                <c:pt idx="78">
                  <c:v>81276</c:v>
                </c:pt>
                <c:pt idx="79">
                  <c:v>72604</c:v>
                </c:pt>
                <c:pt idx="80">
                  <c:v>73024</c:v>
                </c:pt>
                <c:pt idx="81">
                  <c:v>74804</c:v>
                </c:pt>
                <c:pt idx="82">
                  <c:v>82432</c:v>
                </c:pt>
                <c:pt idx="83">
                  <c:v>80716</c:v>
                </c:pt>
                <c:pt idx="84">
                  <c:v>80870</c:v>
                </c:pt>
                <c:pt idx="85">
                  <c:v>79720</c:v>
                </c:pt>
                <c:pt idx="86">
                  <c:v>81190</c:v>
                </c:pt>
                <c:pt idx="87">
                  <c:v>81766</c:v>
                </c:pt>
                <c:pt idx="88">
                  <c:v>75946</c:v>
                </c:pt>
                <c:pt idx="89">
                  <c:v>77010</c:v>
                </c:pt>
                <c:pt idx="90">
                  <c:v>74544</c:v>
                </c:pt>
                <c:pt idx="91">
                  <c:v>83148</c:v>
                </c:pt>
                <c:pt idx="92">
                  <c:v>75193</c:v>
                </c:pt>
                <c:pt idx="93">
                  <c:v>77335</c:v>
                </c:pt>
                <c:pt idx="94">
                  <c:v>75076</c:v>
                </c:pt>
                <c:pt idx="95">
                  <c:v>77822</c:v>
                </c:pt>
                <c:pt idx="96">
                  <c:v>80010</c:v>
                </c:pt>
                <c:pt idx="97">
                  <c:v>76036</c:v>
                </c:pt>
                <c:pt idx="98">
                  <c:v>74462</c:v>
                </c:pt>
                <c:pt idx="99">
                  <c:v>68916</c:v>
                </c:pt>
                <c:pt idx="100">
                  <c:v>79215</c:v>
                </c:pt>
                <c:pt idx="101">
                  <c:v>66280</c:v>
                </c:pt>
                <c:pt idx="102">
                  <c:v>61982</c:v>
                </c:pt>
                <c:pt idx="103">
                  <c:v>55060</c:v>
                </c:pt>
                <c:pt idx="104">
                  <c:v>55320</c:v>
                </c:pt>
                <c:pt idx="105">
                  <c:v>50102</c:v>
                </c:pt>
                <c:pt idx="106">
                  <c:v>62660</c:v>
                </c:pt>
                <c:pt idx="107">
                  <c:v>8061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14</c:v>
                </c:pt>
                <c:pt idx="1">
                  <c:v>200</c:v>
                </c:pt>
                <c:pt idx="2">
                  <c:v>276</c:v>
                </c:pt>
                <c:pt idx="3">
                  <c:v>408</c:v>
                </c:pt>
                <c:pt idx="4">
                  <c:v>252</c:v>
                </c:pt>
                <c:pt idx="5">
                  <c:v>290</c:v>
                </c:pt>
                <c:pt idx="6">
                  <c:v>280</c:v>
                </c:pt>
                <c:pt idx="7">
                  <c:v>178</c:v>
                </c:pt>
                <c:pt idx="8">
                  <c:v>498</c:v>
                </c:pt>
                <c:pt idx="9">
                  <c:v>366</c:v>
                </c:pt>
                <c:pt idx="10">
                  <c:v>268</c:v>
                </c:pt>
                <c:pt idx="11">
                  <c:v>358</c:v>
                </c:pt>
                <c:pt idx="12">
                  <c:v>258</c:v>
                </c:pt>
                <c:pt idx="13">
                  <c:v>190</c:v>
                </c:pt>
                <c:pt idx="14">
                  <c:v>17780</c:v>
                </c:pt>
                <c:pt idx="15">
                  <c:v>19184</c:v>
                </c:pt>
                <c:pt idx="16">
                  <c:v>8968</c:v>
                </c:pt>
                <c:pt idx="17">
                  <c:v>6922</c:v>
                </c:pt>
                <c:pt idx="18">
                  <c:v>4914</c:v>
                </c:pt>
                <c:pt idx="19">
                  <c:v>3306</c:v>
                </c:pt>
                <c:pt idx="20">
                  <c:v>2578</c:v>
                </c:pt>
                <c:pt idx="21">
                  <c:v>1840</c:v>
                </c:pt>
                <c:pt idx="22">
                  <c:v>2114</c:v>
                </c:pt>
                <c:pt idx="23">
                  <c:v>1046</c:v>
                </c:pt>
                <c:pt idx="24">
                  <c:v>972</c:v>
                </c:pt>
                <c:pt idx="25">
                  <c:v>760</c:v>
                </c:pt>
                <c:pt idx="26">
                  <c:v>746</c:v>
                </c:pt>
                <c:pt idx="27">
                  <c:v>450</c:v>
                </c:pt>
                <c:pt idx="28">
                  <c:v>552</c:v>
                </c:pt>
                <c:pt idx="29">
                  <c:v>600</c:v>
                </c:pt>
                <c:pt idx="30">
                  <c:v>562</c:v>
                </c:pt>
                <c:pt idx="31">
                  <c:v>380</c:v>
                </c:pt>
                <c:pt idx="32">
                  <c:v>548</c:v>
                </c:pt>
                <c:pt idx="33">
                  <c:v>358</c:v>
                </c:pt>
                <c:pt idx="34">
                  <c:v>410</c:v>
                </c:pt>
                <c:pt idx="35">
                  <c:v>308</c:v>
                </c:pt>
                <c:pt idx="36">
                  <c:v>460</c:v>
                </c:pt>
                <c:pt idx="37">
                  <c:v>372</c:v>
                </c:pt>
                <c:pt idx="38">
                  <c:v>754</c:v>
                </c:pt>
                <c:pt idx="39">
                  <c:v>1048</c:v>
                </c:pt>
                <c:pt idx="40">
                  <c:v>696</c:v>
                </c:pt>
                <c:pt idx="41">
                  <c:v>980</c:v>
                </c:pt>
                <c:pt idx="42">
                  <c:v>1106</c:v>
                </c:pt>
                <c:pt idx="43">
                  <c:v>1056</c:v>
                </c:pt>
                <c:pt idx="44">
                  <c:v>1068</c:v>
                </c:pt>
                <c:pt idx="45">
                  <c:v>1190</c:v>
                </c:pt>
                <c:pt idx="46">
                  <c:v>1148</c:v>
                </c:pt>
                <c:pt idx="47">
                  <c:v>1140</c:v>
                </c:pt>
                <c:pt idx="48">
                  <c:v>1360</c:v>
                </c:pt>
                <c:pt idx="49">
                  <c:v>1124</c:v>
                </c:pt>
                <c:pt idx="50">
                  <c:v>1306</c:v>
                </c:pt>
                <c:pt idx="51">
                  <c:v>970</c:v>
                </c:pt>
                <c:pt idx="52">
                  <c:v>1058</c:v>
                </c:pt>
                <c:pt idx="53">
                  <c:v>1204</c:v>
                </c:pt>
                <c:pt idx="54">
                  <c:v>1090</c:v>
                </c:pt>
                <c:pt idx="55">
                  <c:v>1092</c:v>
                </c:pt>
                <c:pt idx="56">
                  <c:v>1070</c:v>
                </c:pt>
                <c:pt idx="57">
                  <c:v>1230</c:v>
                </c:pt>
                <c:pt idx="58">
                  <c:v>950</c:v>
                </c:pt>
                <c:pt idx="59">
                  <c:v>1362</c:v>
                </c:pt>
                <c:pt idx="60">
                  <c:v>1046</c:v>
                </c:pt>
                <c:pt idx="61">
                  <c:v>1100</c:v>
                </c:pt>
                <c:pt idx="62">
                  <c:v>1224</c:v>
                </c:pt>
                <c:pt idx="63">
                  <c:v>968</c:v>
                </c:pt>
                <c:pt idx="64">
                  <c:v>1164</c:v>
                </c:pt>
                <c:pt idx="65">
                  <c:v>1072</c:v>
                </c:pt>
                <c:pt idx="66">
                  <c:v>952</c:v>
                </c:pt>
                <c:pt idx="67">
                  <c:v>1084</c:v>
                </c:pt>
                <c:pt idx="68">
                  <c:v>1016</c:v>
                </c:pt>
                <c:pt idx="69">
                  <c:v>1042</c:v>
                </c:pt>
                <c:pt idx="70">
                  <c:v>1062</c:v>
                </c:pt>
                <c:pt idx="71">
                  <c:v>894</c:v>
                </c:pt>
                <c:pt idx="72">
                  <c:v>884</c:v>
                </c:pt>
                <c:pt idx="73">
                  <c:v>848</c:v>
                </c:pt>
                <c:pt idx="74">
                  <c:v>818</c:v>
                </c:pt>
                <c:pt idx="75">
                  <c:v>1206</c:v>
                </c:pt>
                <c:pt idx="76">
                  <c:v>978</c:v>
                </c:pt>
                <c:pt idx="77">
                  <c:v>954</c:v>
                </c:pt>
                <c:pt idx="78">
                  <c:v>1002</c:v>
                </c:pt>
                <c:pt idx="79">
                  <c:v>962</c:v>
                </c:pt>
                <c:pt idx="80">
                  <c:v>666</c:v>
                </c:pt>
                <c:pt idx="81">
                  <c:v>814</c:v>
                </c:pt>
                <c:pt idx="82">
                  <c:v>924</c:v>
                </c:pt>
                <c:pt idx="83">
                  <c:v>748</c:v>
                </c:pt>
                <c:pt idx="84">
                  <c:v>914</c:v>
                </c:pt>
                <c:pt idx="85">
                  <c:v>1024</c:v>
                </c:pt>
                <c:pt idx="86">
                  <c:v>646</c:v>
                </c:pt>
                <c:pt idx="87">
                  <c:v>966</c:v>
                </c:pt>
                <c:pt idx="88">
                  <c:v>810</c:v>
                </c:pt>
                <c:pt idx="89">
                  <c:v>874</c:v>
                </c:pt>
                <c:pt idx="90">
                  <c:v>917</c:v>
                </c:pt>
                <c:pt idx="91">
                  <c:v>914</c:v>
                </c:pt>
                <c:pt idx="92">
                  <c:v>872</c:v>
                </c:pt>
                <c:pt idx="93">
                  <c:v>970</c:v>
                </c:pt>
                <c:pt idx="94">
                  <c:v>630</c:v>
                </c:pt>
                <c:pt idx="95">
                  <c:v>808</c:v>
                </c:pt>
                <c:pt idx="96">
                  <c:v>820</c:v>
                </c:pt>
                <c:pt idx="97">
                  <c:v>686</c:v>
                </c:pt>
                <c:pt idx="98">
                  <c:v>822</c:v>
                </c:pt>
                <c:pt idx="99">
                  <c:v>696</c:v>
                </c:pt>
                <c:pt idx="100">
                  <c:v>896</c:v>
                </c:pt>
                <c:pt idx="101">
                  <c:v>18368</c:v>
                </c:pt>
                <c:pt idx="102">
                  <c:v>26592</c:v>
                </c:pt>
                <c:pt idx="103">
                  <c:v>16054</c:v>
                </c:pt>
                <c:pt idx="104">
                  <c:v>22270</c:v>
                </c:pt>
                <c:pt idx="105">
                  <c:v>14890</c:v>
                </c:pt>
                <c:pt idx="106">
                  <c:v>7150</c:v>
                </c:pt>
                <c:pt idx="107">
                  <c:v>33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304</c:v>
                </c:pt>
                <c:pt idx="1">
                  <c:v>89737</c:v>
                </c:pt>
                <c:pt idx="2">
                  <c:v>91217</c:v>
                </c:pt>
                <c:pt idx="3">
                  <c:v>89095</c:v>
                </c:pt>
                <c:pt idx="4">
                  <c:v>92200</c:v>
                </c:pt>
                <c:pt idx="5">
                  <c:v>87923</c:v>
                </c:pt>
                <c:pt idx="6">
                  <c:v>82067</c:v>
                </c:pt>
                <c:pt idx="7">
                  <c:v>83238</c:v>
                </c:pt>
                <c:pt idx="8">
                  <c:v>90793</c:v>
                </c:pt>
                <c:pt idx="9">
                  <c:v>83601</c:v>
                </c:pt>
                <c:pt idx="10">
                  <c:v>83674</c:v>
                </c:pt>
                <c:pt idx="11">
                  <c:v>84639</c:v>
                </c:pt>
                <c:pt idx="12">
                  <c:v>81973</c:v>
                </c:pt>
                <c:pt idx="13">
                  <c:v>90139</c:v>
                </c:pt>
                <c:pt idx="14">
                  <c:v>77886</c:v>
                </c:pt>
                <c:pt idx="15">
                  <c:v>80011</c:v>
                </c:pt>
                <c:pt idx="16">
                  <c:v>80198</c:v>
                </c:pt>
                <c:pt idx="17">
                  <c:v>91826</c:v>
                </c:pt>
                <c:pt idx="18">
                  <c:v>86840</c:v>
                </c:pt>
                <c:pt idx="19">
                  <c:v>84944</c:v>
                </c:pt>
                <c:pt idx="20">
                  <c:v>92723</c:v>
                </c:pt>
                <c:pt idx="21">
                  <c:v>95216</c:v>
                </c:pt>
                <c:pt idx="22">
                  <c:v>94533</c:v>
                </c:pt>
                <c:pt idx="23">
                  <c:v>91566</c:v>
                </c:pt>
                <c:pt idx="24">
                  <c:v>90588</c:v>
                </c:pt>
                <c:pt idx="25">
                  <c:v>92102</c:v>
                </c:pt>
                <c:pt idx="26">
                  <c:v>95368</c:v>
                </c:pt>
                <c:pt idx="27">
                  <c:v>86225</c:v>
                </c:pt>
                <c:pt idx="28">
                  <c:v>83773</c:v>
                </c:pt>
                <c:pt idx="29">
                  <c:v>82556</c:v>
                </c:pt>
                <c:pt idx="30">
                  <c:v>88315</c:v>
                </c:pt>
                <c:pt idx="31">
                  <c:v>83305</c:v>
                </c:pt>
                <c:pt idx="32">
                  <c:v>84671</c:v>
                </c:pt>
                <c:pt idx="33">
                  <c:v>81278</c:v>
                </c:pt>
                <c:pt idx="34">
                  <c:v>83072</c:v>
                </c:pt>
                <c:pt idx="35">
                  <c:v>88805</c:v>
                </c:pt>
                <c:pt idx="36">
                  <c:v>87855</c:v>
                </c:pt>
                <c:pt idx="37">
                  <c:v>85622</c:v>
                </c:pt>
                <c:pt idx="38">
                  <c:v>81384</c:v>
                </c:pt>
                <c:pt idx="39">
                  <c:v>81469</c:v>
                </c:pt>
                <c:pt idx="40">
                  <c:v>69759</c:v>
                </c:pt>
                <c:pt idx="41">
                  <c:v>70345</c:v>
                </c:pt>
                <c:pt idx="42">
                  <c:v>69999</c:v>
                </c:pt>
                <c:pt idx="43">
                  <c:v>74451</c:v>
                </c:pt>
                <c:pt idx="44">
                  <c:v>82844</c:v>
                </c:pt>
                <c:pt idx="45">
                  <c:v>82368</c:v>
                </c:pt>
                <c:pt idx="46">
                  <c:v>77176</c:v>
                </c:pt>
                <c:pt idx="47">
                  <c:v>80354</c:v>
                </c:pt>
                <c:pt idx="48">
                  <c:v>84529</c:v>
                </c:pt>
                <c:pt idx="49">
                  <c:v>79574</c:v>
                </c:pt>
                <c:pt idx="50">
                  <c:v>84044</c:v>
                </c:pt>
                <c:pt idx="51">
                  <c:v>58571</c:v>
                </c:pt>
                <c:pt idx="52">
                  <c:v>69963</c:v>
                </c:pt>
                <c:pt idx="53">
                  <c:v>73062</c:v>
                </c:pt>
                <c:pt idx="54">
                  <c:v>87089</c:v>
                </c:pt>
                <c:pt idx="55">
                  <c:v>96669</c:v>
                </c:pt>
                <c:pt idx="56">
                  <c:v>89339</c:v>
                </c:pt>
                <c:pt idx="57">
                  <c:v>79275</c:v>
                </c:pt>
                <c:pt idx="58">
                  <c:v>68462</c:v>
                </c:pt>
                <c:pt idx="59">
                  <c:v>65348</c:v>
                </c:pt>
                <c:pt idx="60">
                  <c:v>64989</c:v>
                </c:pt>
                <c:pt idx="61">
                  <c:v>64685</c:v>
                </c:pt>
                <c:pt idx="62">
                  <c:v>69244</c:v>
                </c:pt>
                <c:pt idx="63">
                  <c:v>79418</c:v>
                </c:pt>
                <c:pt idx="64">
                  <c:v>81701</c:v>
                </c:pt>
                <c:pt idx="65">
                  <c:v>82440</c:v>
                </c:pt>
                <c:pt idx="66">
                  <c:v>78732</c:v>
                </c:pt>
                <c:pt idx="67">
                  <c:v>77568</c:v>
                </c:pt>
                <c:pt idx="68">
                  <c:v>77748</c:v>
                </c:pt>
                <c:pt idx="69">
                  <c:v>81678</c:v>
                </c:pt>
                <c:pt idx="70">
                  <c:v>79930</c:v>
                </c:pt>
                <c:pt idx="71">
                  <c:v>76539</c:v>
                </c:pt>
                <c:pt idx="72">
                  <c:v>91324</c:v>
                </c:pt>
                <c:pt idx="73">
                  <c:v>98280</c:v>
                </c:pt>
                <c:pt idx="74">
                  <c:v>104781</c:v>
                </c:pt>
                <c:pt idx="75">
                  <c:v>100215</c:v>
                </c:pt>
                <c:pt idx="76">
                  <c:v>99259</c:v>
                </c:pt>
                <c:pt idx="77">
                  <c:v>99382</c:v>
                </c:pt>
                <c:pt idx="78">
                  <c:v>108441</c:v>
                </c:pt>
                <c:pt idx="79">
                  <c:v>89327</c:v>
                </c:pt>
                <c:pt idx="80">
                  <c:v>83609</c:v>
                </c:pt>
                <c:pt idx="81">
                  <c:v>79459</c:v>
                </c:pt>
                <c:pt idx="82">
                  <c:v>83894</c:v>
                </c:pt>
                <c:pt idx="83">
                  <c:v>95676</c:v>
                </c:pt>
                <c:pt idx="84">
                  <c:v>95059</c:v>
                </c:pt>
                <c:pt idx="85">
                  <c:v>97961</c:v>
                </c:pt>
                <c:pt idx="86">
                  <c:v>93900</c:v>
                </c:pt>
                <c:pt idx="87">
                  <c:v>98467</c:v>
                </c:pt>
                <c:pt idx="88">
                  <c:v>91834</c:v>
                </c:pt>
                <c:pt idx="89">
                  <c:v>92928</c:v>
                </c:pt>
                <c:pt idx="90">
                  <c:v>85175</c:v>
                </c:pt>
                <c:pt idx="91">
                  <c:v>93101</c:v>
                </c:pt>
                <c:pt idx="92">
                  <c:v>75554</c:v>
                </c:pt>
                <c:pt idx="93">
                  <c:v>72739</c:v>
                </c:pt>
                <c:pt idx="94">
                  <c:v>81161</c:v>
                </c:pt>
                <c:pt idx="95">
                  <c:v>90939</c:v>
                </c:pt>
                <c:pt idx="96">
                  <c:v>96049</c:v>
                </c:pt>
                <c:pt idx="97">
                  <c:v>72254</c:v>
                </c:pt>
                <c:pt idx="98">
                  <c:v>23222</c:v>
                </c:pt>
                <c:pt idx="99">
                  <c:v>22139</c:v>
                </c:pt>
                <c:pt idx="100">
                  <c:v>24583</c:v>
                </c:pt>
                <c:pt idx="101">
                  <c:v>23023</c:v>
                </c:pt>
                <c:pt idx="102">
                  <c:v>25068</c:v>
                </c:pt>
                <c:pt idx="103">
                  <c:v>25590</c:v>
                </c:pt>
                <c:pt idx="104">
                  <c:v>21245</c:v>
                </c:pt>
                <c:pt idx="105">
                  <c:v>20999</c:v>
                </c:pt>
                <c:pt idx="106">
                  <c:v>23948</c:v>
                </c:pt>
                <c:pt idx="107">
                  <c:v>2302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18</c:v>
                </c:pt>
                <c:pt idx="1">
                  <c:v>37894</c:v>
                </c:pt>
                <c:pt idx="2">
                  <c:v>46850</c:v>
                </c:pt>
                <c:pt idx="3">
                  <c:v>29062</c:v>
                </c:pt>
                <c:pt idx="4">
                  <c:v>17959</c:v>
                </c:pt>
                <c:pt idx="5">
                  <c:v>22264</c:v>
                </c:pt>
                <c:pt idx="6">
                  <c:v>20957</c:v>
                </c:pt>
                <c:pt idx="7">
                  <c:v>24389</c:v>
                </c:pt>
                <c:pt idx="8">
                  <c:v>14896</c:v>
                </c:pt>
                <c:pt idx="9">
                  <c:v>13958</c:v>
                </c:pt>
                <c:pt idx="10">
                  <c:v>17983</c:v>
                </c:pt>
                <c:pt idx="11">
                  <c:v>14286</c:v>
                </c:pt>
                <c:pt idx="12">
                  <c:v>11607</c:v>
                </c:pt>
                <c:pt idx="13">
                  <c:v>11038</c:v>
                </c:pt>
                <c:pt idx="14">
                  <c:v>11643</c:v>
                </c:pt>
                <c:pt idx="15">
                  <c:v>18624</c:v>
                </c:pt>
                <c:pt idx="16">
                  <c:v>10749</c:v>
                </c:pt>
                <c:pt idx="17">
                  <c:v>2685</c:v>
                </c:pt>
                <c:pt idx="18">
                  <c:v>1169</c:v>
                </c:pt>
                <c:pt idx="19">
                  <c:v>1081</c:v>
                </c:pt>
                <c:pt idx="20">
                  <c:v>2052</c:v>
                </c:pt>
                <c:pt idx="21">
                  <c:v>529</c:v>
                </c:pt>
                <c:pt idx="22">
                  <c:v>266</c:v>
                </c:pt>
                <c:pt idx="23">
                  <c:v>418</c:v>
                </c:pt>
                <c:pt idx="24">
                  <c:v>390</c:v>
                </c:pt>
                <c:pt idx="25">
                  <c:v>302</c:v>
                </c:pt>
                <c:pt idx="26">
                  <c:v>205</c:v>
                </c:pt>
                <c:pt idx="27">
                  <c:v>7715</c:v>
                </c:pt>
                <c:pt idx="28">
                  <c:v>18987</c:v>
                </c:pt>
                <c:pt idx="29">
                  <c:v>14875</c:v>
                </c:pt>
                <c:pt idx="30">
                  <c:v>14374</c:v>
                </c:pt>
                <c:pt idx="31">
                  <c:v>12873</c:v>
                </c:pt>
                <c:pt idx="32">
                  <c:v>12320</c:v>
                </c:pt>
                <c:pt idx="33">
                  <c:v>13218</c:v>
                </c:pt>
                <c:pt idx="34">
                  <c:v>14840</c:v>
                </c:pt>
                <c:pt idx="35">
                  <c:v>5912</c:v>
                </c:pt>
                <c:pt idx="36">
                  <c:v>613</c:v>
                </c:pt>
                <c:pt idx="37">
                  <c:v>227</c:v>
                </c:pt>
                <c:pt idx="38">
                  <c:v>5558</c:v>
                </c:pt>
                <c:pt idx="39">
                  <c:v>9641</c:v>
                </c:pt>
                <c:pt idx="40">
                  <c:v>21451</c:v>
                </c:pt>
                <c:pt idx="41">
                  <c:v>25382</c:v>
                </c:pt>
                <c:pt idx="42">
                  <c:v>24732</c:v>
                </c:pt>
                <c:pt idx="43">
                  <c:v>23278</c:v>
                </c:pt>
                <c:pt idx="44">
                  <c:v>15155</c:v>
                </c:pt>
                <c:pt idx="45">
                  <c:v>16883</c:v>
                </c:pt>
                <c:pt idx="46">
                  <c:v>26903</c:v>
                </c:pt>
                <c:pt idx="47">
                  <c:v>26749</c:v>
                </c:pt>
                <c:pt idx="48">
                  <c:v>34552</c:v>
                </c:pt>
                <c:pt idx="49">
                  <c:v>64235</c:v>
                </c:pt>
                <c:pt idx="50">
                  <c:v>102616</c:v>
                </c:pt>
                <c:pt idx="51">
                  <c:v>146644</c:v>
                </c:pt>
                <c:pt idx="52">
                  <c:v>9188</c:v>
                </c:pt>
                <c:pt idx="53">
                  <c:v>19874</c:v>
                </c:pt>
                <c:pt idx="54">
                  <c:v>12809</c:v>
                </c:pt>
                <c:pt idx="55">
                  <c:v>6377</c:v>
                </c:pt>
                <c:pt idx="56">
                  <c:v>18518</c:v>
                </c:pt>
                <c:pt idx="57">
                  <c:v>32674</c:v>
                </c:pt>
                <c:pt idx="58">
                  <c:v>37375</c:v>
                </c:pt>
                <c:pt idx="59">
                  <c:v>59320</c:v>
                </c:pt>
                <c:pt idx="60">
                  <c:v>52268</c:v>
                </c:pt>
                <c:pt idx="61">
                  <c:v>48538</c:v>
                </c:pt>
                <c:pt idx="62">
                  <c:v>38347</c:v>
                </c:pt>
                <c:pt idx="63">
                  <c:v>30372</c:v>
                </c:pt>
                <c:pt idx="64">
                  <c:v>23753</c:v>
                </c:pt>
                <c:pt idx="65">
                  <c:v>24122</c:v>
                </c:pt>
                <c:pt idx="66">
                  <c:v>23099</c:v>
                </c:pt>
                <c:pt idx="67">
                  <c:v>26870</c:v>
                </c:pt>
                <c:pt idx="68">
                  <c:v>19885</c:v>
                </c:pt>
                <c:pt idx="69">
                  <c:v>20776</c:v>
                </c:pt>
                <c:pt idx="70">
                  <c:v>19802</c:v>
                </c:pt>
                <c:pt idx="71">
                  <c:v>19626</c:v>
                </c:pt>
                <c:pt idx="72">
                  <c:v>13708</c:v>
                </c:pt>
                <c:pt idx="73">
                  <c:v>283</c:v>
                </c:pt>
                <c:pt idx="74">
                  <c:v>422</c:v>
                </c:pt>
                <c:pt idx="75">
                  <c:v>303</c:v>
                </c:pt>
                <c:pt idx="76">
                  <c:v>719</c:v>
                </c:pt>
                <c:pt idx="77">
                  <c:v>232</c:v>
                </c:pt>
                <c:pt idx="78">
                  <c:v>630</c:v>
                </c:pt>
                <c:pt idx="79">
                  <c:v>11609</c:v>
                </c:pt>
                <c:pt idx="80">
                  <c:v>21871</c:v>
                </c:pt>
                <c:pt idx="81">
                  <c:v>22126</c:v>
                </c:pt>
                <c:pt idx="82">
                  <c:v>20762</c:v>
                </c:pt>
                <c:pt idx="83">
                  <c:v>5906</c:v>
                </c:pt>
                <c:pt idx="84">
                  <c:v>4807</c:v>
                </c:pt>
                <c:pt idx="85">
                  <c:v>356</c:v>
                </c:pt>
                <c:pt idx="86">
                  <c:v>3278</c:v>
                </c:pt>
                <c:pt idx="87">
                  <c:v>453</c:v>
                </c:pt>
                <c:pt idx="88">
                  <c:v>521</c:v>
                </c:pt>
                <c:pt idx="89">
                  <c:v>423</c:v>
                </c:pt>
                <c:pt idx="90">
                  <c:v>5675</c:v>
                </c:pt>
                <c:pt idx="91">
                  <c:v>12525</c:v>
                </c:pt>
                <c:pt idx="92">
                  <c:v>23332</c:v>
                </c:pt>
                <c:pt idx="93">
                  <c:v>31963</c:v>
                </c:pt>
                <c:pt idx="94">
                  <c:v>20877</c:v>
                </c:pt>
                <c:pt idx="95">
                  <c:v>10671</c:v>
                </c:pt>
                <c:pt idx="96">
                  <c:v>13495</c:v>
                </c:pt>
                <c:pt idx="97">
                  <c:v>39680</c:v>
                </c:pt>
                <c:pt idx="98">
                  <c:v>93818</c:v>
                </c:pt>
                <c:pt idx="99">
                  <c:v>103439</c:v>
                </c:pt>
                <c:pt idx="100">
                  <c:v>114095</c:v>
                </c:pt>
                <c:pt idx="101">
                  <c:v>129713</c:v>
                </c:pt>
                <c:pt idx="102">
                  <c:v>164986</c:v>
                </c:pt>
                <c:pt idx="103">
                  <c:v>275385</c:v>
                </c:pt>
                <c:pt idx="104">
                  <c:v>84722</c:v>
                </c:pt>
                <c:pt idx="105">
                  <c:v>73283</c:v>
                </c:pt>
                <c:pt idx="106">
                  <c:v>71761</c:v>
                </c:pt>
                <c:pt idx="107">
                  <c:v>6395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B$2:$B$102</c:f>
              <c:numCache>
                <c:formatCode>General</c:formatCode>
                <c:ptCount val="1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C$2:$C$102</c:f>
              <c:numCache>
                <c:formatCode>General</c:formatCode>
                <c:ptCount val="1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5</c:v>
                </c:pt>
                <c:pt idx="87">
                  <c:v>0</c:v>
                </c:pt>
                <c:pt idx="88">
                  <c:v>0</c:v>
                </c:pt>
                <c:pt idx="89">
                  <c:v>0</c:v>
                </c:pt>
                <c:pt idx="90">
                  <c:v>0</c:v>
                </c:pt>
                <c:pt idx="91">
                  <c:v>5</c:v>
                </c:pt>
                <c:pt idx="92">
                  <c:v>0</c:v>
                </c:pt>
                <c:pt idx="93">
                  <c:v>0</c:v>
                </c:pt>
                <c:pt idx="94">
                  <c:v>5</c:v>
                </c:pt>
                <c:pt idx="95">
                  <c:v>20</c:v>
                </c:pt>
                <c:pt idx="96">
                  <c:v>10</c:v>
                </c:pt>
                <c:pt idx="97">
                  <c:v>0</c:v>
                </c:pt>
                <c:pt idx="98">
                  <c:v>5</c:v>
                </c:pt>
                <c:pt idx="99">
                  <c:v>5</c:v>
                </c:pt>
                <c:pt idx="100">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B$2:$B$102</c:f>
              <c:numCache>
                <c:formatCode>General</c:formatCode>
                <c:ptCount val="101"/>
                <c:pt idx="0">
                  <c:v>54</c:v>
                </c:pt>
                <c:pt idx="1">
                  <c:v>166</c:v>
                </c:pt>
                <c:pt idx="2">
                  <c:v>482</c:v>
                </c:pt>
                <c:pt idx="3">
                  <c:v>912</c:v>
                </c:pt>
                <c:pt idx="4">
                  <c:v>1038</c:v>
                </c:pt>
                <c:pt idx="5">
                  <c:v>1056</c:v>
                </c:pt>
                <c:pt idx="6">
                  <c:v>918</c:v>
                </c:pt>
                <c:pt idx="7">
                  <c:v>1054</c:v>
                </c:pt>
                <c:pt idx="8">
                  <c:v>1262</c:v>
                </c:pt>
                <c:pt idx="9">
                  <c:v>1014</c:v>
                </c:pt>
                <c:pt idx="10">
                  <c:v>978</c:v>
                </c:pt>
                <c:pt idx="11">
                  <c:v>966</c:v>
                </c:pt>
                <c:pt idx="12">
                  <c:v>1042</c:v>
                </c:pt>
                <c:pt idx="13">
                  <c:v>1246</c:v>
                </c:pt>
                <c:pt idx="14">
                  <c:v>1292</c:v>
                </c:pt>
                <c:pt idx="15">
                  <c:v>1214</c:v>
                </c:pt>
                <c:pt idx="16">
                  <c:v>1132</c:v>
                </c:pt>
                <c:pt idx="17">
                  <c:v>1260</c:v>
                </c:pt>
                <c:pt idx="18">
                  <c:v>1150</c:v>
                </c:pt>
                <c:pt idx="19">
                  <c:v>1194</c:v>
                </c:pt>
                <c:pt idx="20">
                  <c:v>1188</c:v>
                </c:pt>
                <c:pt idx="21">
                  <c:v>1114</c:v>
                </c:pt>
                <c:pt idx="22">
                  <c:v>1154</c:v>
                </c:pt>
                <c:pt idx="23">
                  <c:v>1196</c:v>
                </c:pt>
                <c:pt idx="24">
                  <c:v>1280</c:v>
                </c:pt>
                <c:pt idx="25">
                  <c:v>1142</c:v>
                </c:pt>
                <c:pt idx="26">
                  <c:v>1236</c:v>
                </c:pt>
                <c:pt idx="27">
                  <c:v>1138</c:v>
                </c:pt>
                <c:pt idx="28">
                  <c:v>1216</c:v>
                </c:pt>
                <c:pt idx="29">
                  <c:v>1114</c:v>
                </c:pt>
                <c:pt idx="30">
                  <c:v>1210</c:v>
                </c:pt>
                <c:pt idx="31">
                  <c:v>1168</c:v>
                </c:pt>
                <c:pt idx="32">
                  <c:v>1234</c:v>
                </c:pt>
                <c:pt idx="33">
                  <c:v>1194</c:v>
                </c:pt>
                <c:pt idx="34">
                  <c:v>1132</c:v>
                </c:pt>
                <c:pt idx="35">
                  <c:v>1010</c:v>
                </c:pt>
                <c:pt idx="36">
                  <c:v>926</c:v>
                </c:pt>
                <c:pt idx="37">
                  <c:v>974</c:v>
                </c:pt>
                <c:pt idx="38">
                  <c:v>970</c:v>
                </c:pt>
                <c:pt idx="39">
                  <c:v>960</c:v>
                </c:pt>
                <c:pt idx="40">
                  <c:v>944</c:v>
                </c:pt>
                <c:pt idx="41">
                  <c:v>932</c:v>
                </c:pt>
                <c:pt idx="42">
                  <c:v>896</c:v>
                </c:pt>
                <c:pt idx="43">
                  <c:v>868</c:v>
                </c:pt>
                <c:pt idx="44">
                  <c:v>874</c:v>
                </c:pt>
                <c:pt idx="45">
                  <c:v>850</c:v>
                </c:pt>
                <c:pt idx="46">
                  <c:v>718</c:v>
                </c:pt>
                <c:pt idx="47">
                  <c:v>772</c:v>
                </c:pt>
                <c:pt idx="48">
                  <c:v>676</c:v>
                </c:pt>
                <c:pt idx="49">
                  <c:v>468</c:v>
                </c:pt>
                <c:pt idx="50">
                  <c:v>374</c:v>
                </c:pt>
                <c:pt idx="51">
                  <c:v>256</c:v>
                </c:pt>
                <c:pt idx="52">
                  <c:v>150</c:v>
                </c:pt>
                <c:pt idx="53">
                  <c:v>40</c:v>
                </c:pt>
                <c:pt idx="54">
                  <c:v>36</c:v>
                </c:pt>
                <c:pt idx="55">
                  <c:v>4</c:v>
                </c:pt>
                <c:pt idx="56">
                  <c:v>10</c:v>
                </c:pt>
                <c:pt idx="57">
                  <c:v>4</c:v>
                </c:pt>
                <c:pt idx="58">
                  <c:v>6</c:v>
                </c:pt>
                <c:pt idx="59">
                  <c:v>12</c:v>
                </c:pt>
                <c:pt idx="60">
                  <c:v>8</c:v>
                </c:pt>
                <c:pt idx="61">
                  <c:v>8</c:v>
                </c:pt>
                <c:pt idx="62">
                  <c:v>10</c:v>
                </c:pt>
                <c:pt idx="63">
                  <c:v>6</c:v>
                </c:pt>
                <c:pt idx="64">
                  <c:v>6</c:v>
                </c:pt>
                <c:pt idx="65">
                  <c:v>0</c:v>
                </c:pt>
                <c:pt idx="66">
                  <c:v>0</c:v>
                </c:pt>
                <c:pt idx="67">
                  <c:v>4</c:v>
                </c:pt>
                <c:pt idx="68">
                  <c:v>0</c:v>
                </c:pt>
                <c:pt idx="69">
                  <c:v>4</c:v>
                </c:pt>
                <c:pt idx="70">
                  <c:v>6</c:v>
                </c:pt>
                <c:pt idx="71">
                  <c:v>8</c:v>
                </c:pt>
                <c:pt idx="72">
                  <c:v>2</c:v>
                </c:pt>
                <c:pt idx="73">
                  <c:v>6</c:v>
                </c:pt>
                <c:pt idx="74">
                  <c:v>2</c:v>
                </c:pt>
                <c:pt idx="75">
                  <c:v>0</c:v>
                </c:pt>
                <c:pt idx="76">
                  <c:v>0</c:v>
                </c:pt>
                <c:pt idx="77">
                  <c:v>0</c:v>
                </c:pt>
                <c:pt idx="78">
                  <c:v>0</c:v>
                </c:pt>
                <c:pt idx="79">
                  <c:v>0</c:v>
                </c:pt>
                <c:pt idx="80">
                  <c:v>2</c:v>
                </c:pt>
                <c:pt idx="81">
                  <c:v>0</c:v>
                </c:pt>
                <c:pt idx="82">
                  <c:v>0</c:v>
                </c:pt>
                <c:pt idx="83">
                  <c:v>0</c:v>
                </c:pt>
                <c:pt idx="84">
                  <c:v>0</c:v>
                </c:pt>
                <c:pt idx="85">
                  <c:v>2</c:v>
                </c:pt>
                <c:pt idx="86">
                  <c:v>0</c:v>
                </c:pt>
                <c:pt idx="87">
                  <c:v>4</c:v>
                </c:pt>
                <c:pt idx="88">
                  <c:v>0</c:v>
                </c:pt>
                <c:pt idx="89">
                  <c:v>2</c:v>
                </c:pt>
                <c:pt idx="90">
                  <c:v>0</c:v>
                </c:pt>
                <c:pt idx="91">
                  <c:v>0</c:v>
                </c:pt>
                <c:pt idx="92">
                  <c:v>2</c:v>
                </c:pt>
                <c:pt idx="93">
                  <c:v>0</c:v>
                </c:pt>
                <c:pt idx="94">
                  <c:v>0</c:v>
                </c:pt>
                <c:pt idx="95">
                  <c:v>2</c:v>
                </c:pt>
                <c:pt idx="96">
                  <c:v>12</c:v>
                </c:pt>
                <c:pt idx="97">
                  <c:v>26</c:v>
                </c:pt>
                <c:pt idx="98">
                  <c:v>106</c:v>
                </c:pt>
                <c:pt idx="99">
                  <c:v>514</c:v>
                </c:pt>
                <c:pt idx="100">
                  <c:v>848</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C$2:$C$102</c:f>
              <c:numCache>
                <c:formatCode>General</c:formatCode>
                <c:ptCount val="101"/>
                <c:pt idx="0">
                  <c:v>30</c:v>
                </c:pt>
                <c:pt idx="1">
                  <c:v>12</c:v>
                </c:pt>
                <c:pt idx="2">
                  <c:v>30</c:v>
                </c:pt>
                <c:pt idx="3">
                  <c:v>28</c:v>
                </c:pt>
                <c:pt idx="4">
                  <c:v>10</c:v>
                </c:pt>
                <c:pt idx="5">
                  <c:v>62</c:v>
                </c:pt>
                <c:pt idx="6">
                  <c:v>60</c:v>
                </c:pt>
                <c:pt idx="7">
                  <c:v>72</c:v>
                </c:pt>
                <c:pt idx="8">
                  <c:v>30</c:v>
                </c:pt>
                <c:pt idx="9">
                  <c:v>54</c:v>
                </c:pt>
                <c:pt idx="10">
                  <c:v>52</c:v>
                </c:pt>
                <c:pt idx="11">
                  <c:v>74</c:v>
                </c:pt>
                <c:pt idx="12">
                  <c:v>96</c:v>
                </c:pt>
                <c:pt idx="13">
                  <c:v>96</c:v>
                </c:pt>
                <c:pt idx="14">
                  <c:v>34</c:v>
                </c:pt>
                <c:pt idx="15">
                  <c:v>82</c:v>
                </c:pt>
                <c:pt idx="16">
                  <c:v>68</c:v>
                </c:pt>
                <c:pt idx="17">
                  <c:v>64</c:v>
                </c:pt>
                <c:pt idx="18">
                  <c:v>68</c:v>
                </c:pt>
                <c:pt idx="19">
                  <c:v>62</c:v>
                </c:pt>
                <c:pt idx="20">
                  <c:v>68</c:v>
                </c:pt>
                <c:pt idx="21">
                  <c:v>60</c:v>
                </c:pt>
                <c:pt idx="22">
                  <c:v>86</c:v>
                </c:pt>
                <c:pt idx="23">
                  <c:v>102</c:v>
                </c:pt>
                <c:pt idx="24">
                  <c:v>80</c:v>
                </c:pt>
                <c:pt idx="25">
                  <c:v>64</c:v>
                </c:pt>
                <c:pt idx="26">
                  <c:v>86</c:v>
                </c:pt>
                <c:pt idx="27">
                  <c:v>72</c:v>
                </c:pt>
                <c:pt idx="28">
                  <c:v>66</c:v>
                </c:pt>
                <c:pt idx="29">
                  <c:v>74</c:v>
                </c:pt>
                <c:pt idx="30">
                  <c:v>64</c:v>
                </c:pt>
                <c:pt idx="31">
                  <c:v>48</c:v>
                </c:pt>
                <c:pt idx="32">
                  <c:v>54</c:v>
                </c:pt>
                <c:pt idx="33">
                  <c:v>46</c:v>
                </c:pt>
                <c:pt idx="34">
                  <c:v>36</c:v>
                </c:pt>
                <c:pt idx="35">
                  <c:v>60</c:v>
                </c:pt>
                <c:pt idx="36">
                  <c:v>56</c:v>
                </c:pt>
                <c:pt idx="37">
                  <c:v>88</c:v>
                </c:pt>
                <c:pt idx="38">
                  <c:v>54</c:v>
                </c:pt>
                <c:pt idx="39">
                  <c:v>72</c:v>
                </c:pt>
                <c:pt idx="40">
                  <c:v>784</c:v>
                </c:pt>
                <c:pt idx="41">
                  <c:v>1358</c:v>
                </c:pt>
                <c:pt idx="42">
                  <c:v>1556</c:v>
                </c:pt>
                <c:pt idx="43">
                  <c:v>1718</c:v>
                </c:pt>
                <c:pt idx="44">
                  <c:v>2172</c:v>
                </c:pt>
                <c:pt idx="45">
                  <c:v>2644</c:v>
                </c:pt>
                <c:pt idx="46">
                  <c:v>5026</c:v>
                </c:pt>
                <c:pt idx="47">
                  <c:v>4780</c:v>
                </c:pt>
                <c:pt idx="48">
                  <c:v>7410</c:v>
                </c:pt>
                <c:pt idx="49">
                  <c:v>11988</c:v>
                </c:pt>
                <c:pt idx="50">
                  <c:v>29446</c:v>
                </c:pt>
                <c:pt idx="51">
                  <c:v>100380</c:v>
                </c:pt>
                <c:pt idx="52">
                  <c:v>24608</c:v>
                </c:pt>
                <c:pt idx="53">
                  <c:v>2032</c:v>
                </c:pt>
                <c:pt idx="54">
                  <c:v>720</c:v>
                </c:pt>
                <c:pt idx="55">
                  <c:v>444</c:v>
                </c:pt>
                <c:pt idx="56">
                  <c:v>176</c:v>
                </c:pt>
                <c:pt idx="57">
                  <c:v>220</c:v>
                </c:pt>
                <c:pt idx="58">
                  <c:v>94</c:v>
                </c:pt>
                <c:pt idx="59">
                  <c:v>56</c:v>
                </c:pt>
                <c:pt idx="60">
                  <c:v>32</c:v>
                </c:pt>
                <c:pt idx="61">
                  <c:v>36</c:v>
                </c:pt>
                <c:pt idx="62">
                  <c:v>20</c:v>
                </c:pt>
                <c:pt idx="63">
                  <c:v>122</c:v>
                </c:pt>
                <c:pt idx="64">
                  <c:v>14</c:v>
                </c:pt>
                <c:pt idx="65">
                  <c:v>26</c:v>
                </c:pt>
                <c:pt idx="66">
                  <c:v>20</c:v>
                </c:pt>
                <c:pt idx="67">
                  <c:v>16</c:v>
                </c:pt>
                <c:pt idx="68">
                  <c:v>8</c:v>
                </c:pt>
                <c:pt idx="69">
                  <c:v>4</c:v>
                </c:pt>
                <c:pt idx="70">
                  <c:v>22</c:v>
                </c:pt>
                <c:pt idx="71">
                  <c:v>20</c:v>
                </c:pt>
                <c:pt idx="72">
                  <c:v>4</c:v>
                </c:pt>
                <c:pt idx="73">
                  <c:v>0</c:v>
                </c:pt>
                <c:pt idx="74">
                  <c:v>0</c:v>
                </c:pt>
                <c:pt idx="75">
                  <c:v>6</c:v>
                </c:pt>
                <c:pt idx="76">
                  <c:v>2</c:v>
                </c:pt>
                <c:pt idx="77">
                  <c:v>2</c:v>
                </c:pt>
                <c:pt idx="78">
                  <c:v>2</c:v>
                </c:pt>
                <c:pt idx="79">
                  <c:v>2</c:v>
                </c:pt>
                <c:pt idx="80">
                  <c:v>2</c:v>
                </c:pt>
                <c:pt idx="81">
                  <c:v>2</c:v>
                </c:pt>
                <c:pt idx="82">
                  <c:v>2</c:v>
                </c:pt>
                <c:pt idx="83">
                  <c:v>0</c:v>
                </c:pt>
                <c:pt idx="84">
                  <c:v>2</c:v>
                </c:pt>
                <c:pt idx="85">
                  <c:v>4</c:v>
                </c:pt>
                <c:pt idx="86">
                  <c:v>2</c:v>
                </c:pt>
                <c:pt idx="87">
                  <c:v>0</c:v>
                </c:pt>
                <c:pt idx="88">
                  <c:v>4</c:v>
                </c:pt>
                <c:pt idx="89">
                  <c:v>2</c:v>
                </c:pt>
                <c:pt idx="90">
                  <c:v>2</c:v>
                </c:pt>
                <c:pt idx="91">
                  <c:v>0</c:v>
                </c:pt>
                <c:pt idx="92">
                  <c:v>4</c:v>
                </c:pt>
                <c:pt idx="93">
                  <c:v>2</c:v>
                </c:pt>
                <c:pt idx="94">
                  <c:v>0</c:v>
                </c:pt>
                <c:pt idx="95">
                  <c:v>2</c:v>
                </c:pt>
                <c:pt idx="96">
                  <c:v>0</c:v>
                </c:pt>
                <c:pt idx="97">
                  <c:v>8</c:v>
                </c:pt>
                <c:pt idx="98">
                  <c:v>4</c:v>
                </c:pt>
                <c:pt idx="99">
                  <c:v>6</c:v>
                </c:pt>
                <c:pt idx="100">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0</c:v>
                </c:pt>
                <c:pt idx="101">
                  <c:v>5</c:v>
                </c:pt>
                <c:pt idx="102">
                  <c:v>20</c:v>
                </c:pt>
                <c:pt idx="103">
                  <c:v>10</c:v>
                </c:pt>
                <c:pt idx="104">
                  <c:v>0</c:v>
                </c:pt>
                <c:pt idx="105">
                  <c:v>5</c:v>
                </c:pt>
                <c:pt idx="106">
                  <c:v>5</c:v>
                </c:pt>
                <c:pt idx="107">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76</c:v>
                </c:pt>
                <c:pt idx="1">
                  <c:v>13938</c:v>
                </c:pt>
                <c:pt idx="2">
                  <c:v>13671</c:v>
                </c:pt>
                <c:pt idx="3">
                  <c:v>13438</c:v>
                </c:pt>
                <c:pt idx="4">
                  <c:v>13656</c:v>
                </c:pt>
                <c:pt idx="5">
                  <c:v>14826</c:v>
                </c:pt>
                <c:pt idx="6">
                  <c:v>13856</c:v>
                </c:pt>
                <c:pt idx="7">
                  <c:v>13529</c:v>
                </c:pt>
                <c:pt idx="8">
                  <c:v>16116</c:v>
                </c:pt>
                <c:pt idx="9">
                  <c:v>14415</c:v>
                </c:pt>
                <c:pt idx="10">
                  <c:v>14534</c:v>
                </c:pt>
                <c:pt idx="11">
                  <c:v>15128</c:v>
                </c:pt>
                <c:pt idx="12">
                  <c:v>15431</c:v>
                </c:pt>
                <c:pt idx="13">
                  <c:v>17261</c:v>
                </c:pt>
                <c:pt idx="14">
                  <c:v>14172</c:v>
                </c:pt>
                <c:pt idx="15">
                  <c:v>14127</c:v>
                </c:pt>
                <c:pt idx="16">
                  <c:v>14914</c:v>
                </c:pt>
                <c:pt idx="17">
                  <c:v>17334</c:v>
                </c:pt>
                <c:pt idx="18">
                  <c:v>16224</c:v>
                </c:pt>
                <c:pt idx="19">
                  <c:v>16032</c:v>
                </c:pt>
                <c:pt idx="20">
                  <c:v>17817</c:v>
                </c:pt>
                <c:pt idx="21">
                  <c:v>17302</c:v>
                </c:pt>
                <c:pt idx="22">
                  <c:v>17151</c:v>
                </c:pt>
                <c:pt idx="23">
                  <c:v>16807</c:v>
                </c:pt>
                <c:pt idx="24">
                  <c:v>17339</c:v>
                </c:pt>
                <c:pt idx="25">
                  <c:v>16776</c:v>
                </c:pt>
                <c:pt idx="26">
                  <c:v>17771</c:v>
                </c:pt>
                <c:pt idx="27">
                  <c:v>15887</c:v>
                </c:pt>
                <c:pt idx="28">
                  <c:v>15128</c:v>
                </c:pt>
                <c:pt idx="29">
                  <c:v>16154</c:v>
                </c:pt>
                <c:pt idx="30">
                  <c:v>16755</c:v>
                </c:pt>
                <c:pt idx="31">
                  <c:v>15586</c:v>
                </c:pt>
                <c:pt idx="32">
                  <c:v>16356</c:v>
                </c:pt>
                <c:pt idx="33">
                  <c:v>16600</c:v>
                </c:pt>
                <c:pt idx="34">
                  <c:v>18795</c:v>
                </c:pt>
                <c:pt idx="35">
                  <c:v>19766</c:v>
                </c:pt>
                <c:pt idx="36">
                  <c:v>17420</c:v>
                </c:pt>
                <c:pt idx="37">
                  <c:v>16674</c:v>
                </c:pt>
                <c:pt idx="38">
                  <c:v>15378</c:v>
                </c:pt>
                <c:pt idx="39">
                  <c:v>15319</c:v>
                </c:pt>
                <c:pt idx="40">
                  <c:v>13354</c:v>
                </c:pt>
                <c:pt idx="41">
                  <c:v>14496</c:v>
                </c:pt>
                <c:pt idx="42">
                  <c:v>13756</c:v>
                </c:pt>
                <c:pt idx="43">
                  <c:v>13690</c:v>
                </c:pt>
                <c:pt idx="44">
                  <c:v>15510</c:v>
                </c:pt>
                <c:pt idx="45">
                  <c:v>14524</c:v>
                </c:pt>
                <c:pt idx="46">
                  <c:v>13783</c:v>
                </c:pt>
                <c:pt idx="47">
                  <c:v>14692</c:v>
                </c:pt>
                <c:pt idx="48">
                  <c:v>15120</c:v>
                </c:pt>
                <c:pt idx="49">
                  <c:v>11270</c:v>
                </c:pt>
                <c:pt idx="50">
                  <c:v>11241</c:v>
                </c:pt>
                <c:pt idx="51">
                  <c:v>7087</c:v>
                </c:pt>
                <c:pt idx="52">
                  <c:v>8989</c:v>
                </c:pt>
                <c:pt idx="53">
                  <c:v>11750</c:v>
                </c:pt>
                <c:pt idx="54">
                  <c:v>19892</c:v>
                </c:pt>
                <c:pt idx="55">
                  <c:v>23063</c:v>
                </c:pt>
                <c:pt idx="56">
                  <c:v>24509</c:v>
                </c:pt>
                <c:pt idx="57">
                  <c:v>26931</c:v>
                </c:pt>
                <c:pt idx="58">
                  <c:v>23148</c:v>
                </c:pt>
                <c:pt idx="59">
                  <c:v>22748</c:v>
                </c:pt>
                <c:pt idx="60">
                  <c:v>23826</c:v>
                </c:pt>
                <c:pt idx="61">
                  <c:v>22823</c:v>
                </c:pt>
                <c:pt idx="62">
                  <c:v>21003</c:v>
                </c:pt>
                <c:pt idx="63">
                  <c:v>19742</c:v>
                </c:pt>
                <c:pt idx="64">
                  <c:v>22322</c:v>
                </c:pt>
                <c:pt idx="65">
                  <c:v>21993</c:v>
                </c:pt>
                <c:pt idx="66">
                  <c:v>19687</c:v>
                </c:pt>
                <c:pt idx="67">
                  <c:v>20134</c:v>
                </c:pt>
                <c:pt idx="68">
                  <c:v>20032</c:v>
                </c:pt>
                <c:pt idx="69">
                  <c:v>21484</c:v>
                </c:pt>
                <c:pt idx="70">
                  <c:v>20542</c:v>
                </c:pt>
                <c:pt idx="71">
                  <c:v>19844</c:v>
                </c:pt>
                <c:pt idx="72">
                  <c:v>23939</c:v>
                </c:pt>
                <c:pt idx="73">
                  <c:v>26969</c:v>
                </c:pt>
                <c:pt idx="74">
                  <c:v>29031</c:v>
                </c:pt>
                <c:pt idx="75">
                  <c:v>28022</c:v>
                </c:pt>
                <c:pt idx="76">
                  <c:v>28815</c:v>
                </c:pt>
                <c:pt idx="77">
                  <c:v>28522</c:v>
                </c:pt>
                <c:pt idx="78">
                  <c:v>30126</c:v>
                </c:pt>
                <c:pt idx="79">
                  <c:v>25552</c:v>
                </c:pt>
                <c:pt idx="80">
                  <c:v>23407</c:v>
                </c:pt>
                <c:pt idx="81">
                  <c:v>22457</c:v>
                </c:pt>
                <c:pt idx="82">
                  <c:v>22287</c:v>
                </c:pt>
                <c:pt idx="83">
                  <c:v>25998</c:v>
                </c:pt>
                <c:pt idx="84">
                  <c:v>26178</c:v>
                </c:pt>
                <c:pt idx="85">
                  <c:v>26424</c:v>
                </c:pt>
                <c:pt idx="86">
                  <c:v>25270</c:v>
                </c:pt>
                <c:pt idx="87">
                  <c:v>25833</c:v>
                </c:pt>
                <c:pt idx="88">
                  <c:v>24115</c:v>
                </c:pt>
                <c:pt idx="89">
                  <c:v>24662</c:v>
                </c:pt>
                <c:pt idx="90">
                  <c:v>21729</c:v>
                </c:pt>
                <c:pt idx="91">
                  <c:v>22807</c:v>
                </c:pt>
                <c:pt idx="92">
                  <c:v>19490</c:v>
                </c:pt>
                <c:pt idx="93">
                  <c:v>18353</c:v>
                </c:pt>
                <c:pt idx="94">
                  <c:v>20147</c:v>
                </c:pt>
                <c:pt idx="95">
                  <c:v>22422</c:v>
                </c:pt>
                <c:pt idx="96">
                  <c:v>23182</c:v>
                </c:pt>
                <c:pt idx="97">
                  <c:v>21596</c:v>
                </c:pt>
                <c:pt idx="98">
                  <c:v>21277</c:v>
                </c:pt>
                <c:pt idx="99">
                  <c:v>20811</c:v>
                </c:pt>
                <c:pt idx="100">
                  <c:v>22963</c:v>
                </c:pt>
                <c:pt idx="101">
                  <c:v>22045</c:v>
                </c:pt>
                <c:pt idx="102">
                  <c:v>24422</c:v>
                </c:pt>
                <c:pt idx="103">
                  <c:v>24901</c:v>
                </c:pt>
                <c:pt idx="104">
                  <c:v>20185</c:v>
                </c:pt>
                <c:pt idx="105">
                  <c:v>19080</c:v>
                </c:pt>
                <c:pt idx="106">
                  <c:v>21168</c:v>
                </c:pt>
                <c:pt idx="107">
                  <c:v>19581</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78</c:v>
                </c:pt>
                <c:pt idx="1">
                  <c:v>10804</c:v>
                </c:pt>
                <c:pt idx="2">
                  <c:v>10122</c:v>
                </c:pt>
                <c:pt idx="3">
                  <c:v>6851</c:v>
                </c:pt>
                <c:pt idx="4">
                  <c:v>4440</c:v>
                </c:pt>
                <c:pt idx="5">
                  <c:v>3738</c:v>
                </c:pt>
                <c:pt idx="6">
                  <c:v>3626</c:v>
                </c:pt>
                <c:pt idx="7">
                  <c:v>7762</c:v>
                </c:pt>
                <c:pt idx="8">
                  <c:v>3072</c:v>
                </c:pt>
                <c:pt idx="9">
                  <c:v>3168</c:v>
                </c:pt>
                <c:pt idx="10">
                  <c:v>6634</c:v>
                </c:pt>
                <c:pt idx="11">
                  <c:v>4082</c:v>
                </c:pt>
                <c:pt idx="12">
                  <c:v>2344</c:v>
                </c:pt>
                <c:pt idx="13">
                  <c:v>2224</c:v>
                </c:pt>
                <c:pt idx="14">
                  <c:v>3180</c:v>
                </c:pt>
                <c:pt idx="15">
                  <c:v>7882</c:v>
                </c:pt>
                <c:pt idx="16">
                  <c:v>3238</c:v>
                </c:pt>
                <c:pt idx="17">
                  <c:v>698</c:v>
                </c:pt>
                <c:pt idx="18">
                  <c:v>982</c:v>
                </c:pt>
                <c:pt idx="19">
                  <c:v>856</c:v>
                </c:pt>
                <c:pt idx="20">
                  <c:v>1870</c:v>
                </c:pt>
                <c:pt idx="21">
                  <c:v>304</c:v>
                </c:pt>
                <c:pt idx="22">
                  <c:v>164</c:v>
                </c:pt>
                <c:pt idx="23">
                  <c:v>294</c:v>
                </c:pt>
                <c:pt idx="24">
                  <c:v>146</c:v>
                </c:pt>
                <c:pt idx="25">
                  <c:v>220</c:v>
                </c:pt>
                <c:pt idx="26">
                  <c:v>224</c:v>
                </c:pt>
                <c:pt idx="27">
                  <c:v>1572</c:v>
                </c:pt>
                <c:pt idx="28">
                  <c:v>5228</c:v>
                </c:pt>
                <c:pt idx="29">
                  <c:v>2802</c:v>
                </c:pt>
                <c:pt idx="30">
                  <c:v>2188</c:v>
                </c:pt>
                <c:pt idx="31">
                  <c:v>1968</c:v>
                </c:pt>
                <c:pt idx="32">
                  <c:v>1950</c:v>
                </c:pt>
                <c:pt idx="33">
                  <c:v>1804</c:v>
                </c:pt>
                <c:pt idx="34">
                  <c:v>1548</c:v>
                </c:pt>
                <c:pt idx="35">
                  <c:v>482</c:v>
                </c:pt>
                <c:pt idx="36">
                  <c:v>272</c:v>
                </c:pt>
                <c:pt idx="37">
                  <c:v>198</c:v>
                </c:pt>
                <c:pt idx="38">
                  <c:v>786</c:v>
                </c:pt>
                <c:pt idx="39">
                  <c:v>1586</c:v>
                </c:pt>
                <c:pt idx="40">
                  <c:v>10248</c:v>
                </c:pt>
                <c:pt idx="41">
                  <c:v>12301</c:v>
                </c:pt>
                <c:pt idx="42">
                  <c:v>13429</c:v>
                </c:pt>
                <c:pt idx="43">
                  <c:v>15451</c:v>
                </c:pt>
                <c:pt idx="44">
                  <c:v>16366</c:v>
                </c:pt>
                <c:pt idx="45">
                  <c:v>19322</c:v>
                </c:pt>
                <c:pt idx="46">
                  <c:v>31685</c:v>
                </c:pt>
                <c:pt idx="47">
                  <c:v>31237</c:v>
                </c:pt>
                <c:pt idx="48">
                  <c:v>41559</c:v>
                </c:pt>
                <c:pt idx="49">
                  <c:v>66466</c:v>
                </c:pt>
                <c:pt idx="50">
                  <c:v>120641</c:v>
                </c:pt>
                <c:pt idx="51">
                  <c:v>241388</c:v>
                </c:pt>
                <c:pt idx="52">
                  <c:v>29750</c:v>
                </c:pt>
                <c:pt idx="53">
                  <c:v>7619</c:v>
                </c:pt>
                <c:pt idx="54">
                  <c:v>3334</c:v>
                </c:pt>
                <c:pt idx="55">
                  <c:v>1899</c:v>
                </c:pt>
                <c:pt idx="56">
                  <c:v>901</c:v>
                </c:pt>
                <c:pt idx="57">
                  <c:v>922</c:v>
                </c:pt>
                <c:pt idx="58">
                  <c:v>4060</c:v>
                </c:pt>
                <c:pt idx="59">
                  <c:v>11597</c:v>
                </c:pt>
                <c:pt idx="60">
                  <c:v>7035</c:v>
                </c:pt>
                <c:pt idx="61">
                  <c:v>6267</c:v>
                </c:pt>
                <c:pt idx="62">
                  <c:v>6624</c:v>
                </c:pt>
                <c:pt idx="63">
                  <c:v>12375</c:v>
                </c:pt>
                <c:pt idx="64">
                  <c:v>6373</c:v>
                </c:pt>
                <c:pt idx="65">
                  <c:v>6064</c:v>
                </c:pt>
                <c:pt idx="66">
                  <c:v>6679</c:v>
                </c:pt>
                <c:pt idx="67">
                  <c:v>11912</c:v>
                </c:pt>
                <c:pt idx="68">
                  <c:v>6221</c:v>
                </c:pt>
                <c:pt idx="69">
                  <c:v>5750</c:v>
                </c:pt>
                <c:pt idx="70">
                  <c:v>5392</c:v>
                </c:pt>
                <c:pt idx="71">
                  <c:v>6325</c:v>
                </c:pt>
                <c:pt idx="72">
                  <c:v>6952</c:v>
                </c:pt>
                <c:pt idx="73">
                  <c:v>41</c:v>
                </c:pt>
                <c:pt idx="74">
                  <c:v>266</c:v>
                </c:pt>
                <c:pt idx="75">
                  <c:v>77</c:v>
                </c:pt>
                <c:pt idx="76">
                  <c:v>101</c:v>
                </c:pt>
                <c:pt idx="77">
                  <c:v>58</c:v>
                </c:pt>
                <c:pt idx="78">
                  <c:v>362</c:v>
                </c:pt>
                <c:pt idx="79">
                  <c:v>2888</c:v>
                </c:pt>
                <c:pt idx="80">
                  <c:v>6203</c:v>
                </c:pt>
                <c:pt idx="81">
                  <c:v>6007</c:v>
                </c:pt>
                <c:pt idx="82">
                  <c:v>5920</c:v>
                </c:pt>
                <c:pt idx="83">
                  <c:v>1399</c:v>
                </c:pt>
                <c:pt idx="84">
                  <c:v>1122</c:v>
                </c:pt>
                <c:pt idx="85">
                  <c:v>242</c:v>
                </c:pt>
                <c:pt idx="86">
                  <c:v>792</c:v>
                </c:pt>
                <c:pt idx="87">
                  <c:v>251</c:v>
                </c:pt>
                <c:pt idx="88">
                  <c:v>261</c:v>
                </c:pt>
                <c:pt idx="89">
                  <c:v>263</c:v>
                </c:pt>
                <c:pt idx="90">
                  <c:v>1199</c:v>
                </c:pt>
                <c:pt idx="91">
                  <c:v>2964</c:v>
                </c:pt>
                <c:pt idx="92">
                  <c:v>6667</c:v>
                </c:pt>
                <c:pt idx="93">
                  <c:v>12478</c:v>
                </c:pt>
                <c:pt idx="94">
                  <c:v>11650</c:v>
                </c:pt>
                <c:pt idx="95">
                  <c:v>10494</c:v>
                </c:pt>
                <c:pt idx="96">
                  <c:v>13315</c:v>
                </c:pt>
                <c:pt idx="97">
                  <c:v>16095</c:v>
                </c:pt>
                <c:pt idx="98">
                  <c:v>19979</c:v>
                </c:pt>
                <c:pt idx="99">
                  <c:v>32195</c:v>
                </c:pt>
                <c:pt idx="100">
                  <c:v>35366</c:v>
                </c:pt>
                <c:pt idx="101">
                  <c:v>49136</c:v>
                </c:pt>
                <c:pt idx="102">
                  <c:v>76958</c:v>
                </c:pt>
                <c:pt idx="103">
                  <c:v>200721</c:v>
                </c:pt>
                <c:pt idx="104">
                  <c:v>6529</c:v>
                </c:pt>
                <c:pt idx="105">
                  <c:v>1508</c:v>
                </c:pt>
                <c:pt idx="106">
                  <c:v>784</c:v>
                </c:pt>
                <c:pt idx="107">
                  <c:v>42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4522</c:v>
                </c:pt>
                <c:pt idx="1">
                  <c:v>15778</c:v>
                </c:pt>
                <c:pt idx="2">
                  <c:v>17550</c:v>
                </c:pt>
                <c:pt idx="3">
                  <c:v>18314</c:v>
                </c:pt>
                <c:pt idx="4">
                  <c:v>19606</c:v>
                </c:pt>
                <c:pt idx="5">
                  <c:v>18010</c:v>
                </c:pt>
                <c:pt idx="6">
                  <c:v>15124</c:v>
                </c:pt>
                <c:pt idx="7">
                  <c:v>11682</c:v>
                </c:pt>
                <c:pt idx="8">
                  <c:v>10786</c:v>
                </c:pt>
                <c:pt idx="9">
                  <c:v>10832</c:v>
                </c:pt>
                <c:pt idx="10">
                  <c:v>6970</c:v>
                </c:pt>
                <c:pt idx="11">
                  <c:v>4926</c:v>
                </c:pt>
                <c:pt idx="12">
                  <c:v>3030</c:v>
                </c:pt>
                <c:pt idx="13">
                  <c:v>2086</c:v>
                </c:pt>
                <c:pt idx="14">
                  <c:v>3004</c:v>
                </c:pt>
                <c:pt idx="15">
                  <c:v>9706</c:v>
                </c:pt>
                <c:pt idx="16">
                  <c:v>15682</c:v>
                </c:pt>
                <c:pt idx="17">
                  <c:v>18092</c:v>
                </c:pt>
                <c:pt idx="18">
                  <c:v>17852</c:v>
                </c:pt>
                <c:pt idx="19">
                  <c:v>17714</c:v>
                </c:pt>
                <c:pt idx="20">
                  <c:v>18206</c:v>
                </c:pt>
                <c:pt idx="21">
                  <c:v>19362</c:v>
                </c:pt>
                <c:pt idx="22">
                  <c:v>19396</c:v>
                </c:pt>
                <c:pt idx="23">
                  <c:v>18960</c:v>
                </c:pt>
                <c:pt idx="24">
                  <c:v>18446</c:v>
                </c:pt>
                <c:pt idx="25">
                  <c:v>18976</c:v>
                </c:pt>
                <c:pt idx="26">
                  <c:v>19176</c:v>
                </c:pt>
                <c:pt idx="27">
                  <c:v>17018</c:v>
                </c:pt>
                <c:pt idx="28">
                  <c:v>16364</c:v>
                </c:pt>
                <c:pt idx="29">
                  <c:v>15216</c:v>
                </c:pt>
                <c:pt idx="30">
                  <c:v>16976</c:v>
                </c:pt>
                <c:pt idx="31">
                  <c:v>15698</c:v>
                </c:pt>
                <c:pt idx="32">
                  <c:v>16060</c:v>
                </c:pt>
                <c:pt idx="33">
                  <c:v>15454</c:v>
                </c:pt>
                <c:pt idx="34">
                  <c:v>14868</c:v>
                </c:pt>
                <c:pt idx="35">
                  <c:v>14974</c:v>
                </c:pt>
                <c:pt idx="36">
                  <c:v>13662</c:v>
                </c:pt>
                <c:pt idx="37">
                  <c:v>13692</c:v>
                </c:pt>
                <c:pt idx="38">
                  <c:v>13498</c:v>
                </c:pt>
                <c:pt idx="39">
                  <c:v>13990</c:v>
                </c:pt>
                <c:pt idx="40">
                  <c:v>13030</c:v>
                </c:pt>
                <c:pt idx="41">
                  <c:v>12642</c:v>
                </c:pt>
                <c:pt idx="42">
                  <c:v>12808</c:v>
                </c:pt>
                <c:pt idx="43">
                  <c:v>13168</c:v>
                </c:pt>
                <c:pt idx="44">
                  <c:v>13418</c:v>
                </c:pt>
                <c:pt idx="45">
                  <c:v>12582</c:v>
                </c:pt>
                <c:pt idx="46">
                  <c:v>11826</c:v>
                </c:pt>
                <c:pt idx="47">
                  <c:v>12300</c:v>
                </c:pt>
                <c:pt idx="48">
                  <c:v>13352</c:v>
                </c:pt>
                <c:pt idx="49">
                  <c:v>12822</c:v>
                </c:pt>
                <c:pt idx="50">
                  <c:v>15270</c:v>
                </c:pt>
                <c:pt idx="51">
                  <c:v>12388</c:v>
                </c:pt>
                <c:pt idx="52">
                  <c:v>13208</c:v>
                </c:pt>
                <c:pt idx="53">
                  <c:v>12118</c:v>
                </c:pt>
                <c:pt idx="54">
                  <c:v>10732</c:v>
                </c:pt>
                <c:pt idx="55">
                  <c:v>11680</c:v>
                </c:pt>
                <c:pt idx="56">
                  <c:v>12180</c:v>
                </c:pt>
                <c:pt idx="57">
                  <c:v>11788</c:v>
                </c:pt>
                <c:pt idx="58">
                  <c:v>11620</c:v>
                </c:pt>
                <c:pt idx="59">
                  <c:v>12112</c:v>
                </c:pt>
                <c:pt idx="60">
                  <c:v>12454</c:v>
                </c:pt>
                <c:pt idx="61">
                  <c:v>12532</c:v>
                </c:pt>
                <c:pt idx="62">
                  <c:v>11568</c:v>
                </c:pt>
                <c:pt idx="63">
                  <c:v>11360</c:v>
                </c:pt>
                <c:pt idx="64">
                  <c:v>11956</c:v>
                </c:pt>
                <c:pt idx="65">
                  <c:v>11974</c:v>
                </c:pt>
                <c:pt idx="66">
                  <c:v>11810</c:v>
                </c:pt>
                <c:pt idx="67">
                  <c:v>11854</c:v>
                </c:pt>
                <c:pt idx="68">
                  <c:v>11626</c:v>
                </c:pt>
                <c:pt idx="69">
                  <c:v>12746</c:v>
                </c:pt>
                <c:pt idx="70">
                  <c:v>12014</c:v>
                </c:pt>
                <c:pt idx="71">
                  <c:v>11260</c:v>
                </c:pt>
                <c:pt idx="72">
                  <c:v>11794</c:v>
                </c:pt>
                <c:pt idx="73">
                  <c:v>12150</c:v>
                </c:pt>
                <c:pt idx="74">
                  <c:v>13100</c:v>
                </c:pt>
                <c:pt idx="75">
                  <c:v>12234</c:v>
                </c:pt>
                <c:pt idx="76">
                  <c:v>11410</c:v>
                </c:pt>
                <c:pt idx="77">
                  <c:v>8662</c:v>
                </c:pt>
                <c:pt idx="78">
                  <c:v>6996</c:v>
                </c:pt>
                <c:pt idx="79">
                  <c:v>4252</c:v>
                </c:pt>
                <c:pt idx="80">
                  <c:v>3462</c:v>
                </c:pt>
                <c:pt idx="81">
                  <c:v>6676</c:v>
                </c:pt>
                <c:pt idx="82">
                  <c:v>10556</c:v>
                </c:pt>
                <c:pt idx="83">
                  <c:v>11024</c:v>
                </c:pt>
                <c:pt idx="84">
                  <c:v>11662</c:v>
                </c:pt>
                <c:pt idx="85">
                  <c:v>11688</c:v>
                </c:pt>
                <c:pt idx="86">
                  <c:v>11938</c:v>
                </c:pt>
                <c:pt idx="87">
                  <c:v>11670</c:v>
                </c:pt>
                <c:pt idx="88">
                  <c:v>11066</c:v>
                </c:pt>
                <c:pt idx="89">
                  <c:v>10814</c:v>
                </c:pt>
                <c:pt idx="90">
                  <c:v>10408</c:v>
                </c:pt>
                <c:pt idx="91">
                  <c:v>11444</c:v>
                </c:pt>
                <c:pt idx="92">
                  <c:v>10310</c:v>
                </c:pt>
                <c:pt idx="93">
                  <c:v>10668</c:v>
                </c:pt>
                <c:pt idx="94">
                  <c:v>10128</c:v>
                </c:pt>
                <c:pt idx="95">
                  <c:v>10242</c:v>
                </c:pt>
                <c:pt idx="96">
                  <c:v>10825</c:v>
                </c:pt>
                <c:pt idx="97">
                  <c:v>10044</c:v>
                </c:pt>
                <c:pt idx="98">
                  <c:v>9758</c:v>
                </c:pt>
                <c:pt idx="99">
                  <c:v>9276</c:v>
                </c:pt>
                <c:pt idx="100">
                  <c:v>10171</c:v>
                </c:pt>
                <c:pt idx="101">
                  <c:v>10064</c:v>
                </c:pt>
                <c:pt idx="102">
                  <c:v>10558</c:v>
                </c:pt>
                <c:pt idx="103">
                  <c:v>11044</c:v>
                </c:pt>
                <c:pt idx="104">
                  <c:v>10236</c:v>
                </c:pt>
                <c:pt idx="105">
                  <c:v>9550</c:v>
                </c:pt>
                <c:pt idx="106">
                  <c:v>10832</c:v>
                </c:pt>
                <c:pt idx="107">
                  <c:v>1024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2</c:v>
                </c:pt>
                <c:pt idx="1">
                  <c:v>4</c:v>
                </c:pt>
                <c:pt idx="2">
                  <c:v>36</c:v>
                </c:pt>
                <c:pt idx="3">
                  <c:v>32</c:v>
                </c:pt>
                <c:pt idx="4">
                  <c:v>24</c:v>
                </c:pt>
                <c:pt idx="5">
                  <c:v>30</c:v>
                </c:pt>
                <c:pt idx="6">
                  <c:v>12</c:v>
                </c:pt>
                <c:pt idx="7">
                  <c:v>18</c:v>
                </c:pt>
                <c:pt idx="8">
                  <c:v>6</c:v>
                </c:pt>
                <c:pt idx="9">
                  <c:v>2</c:v>
                </c:pt>
                <c:pt idx="10">
                  <c:v>4</c:v>
                </c:pt>
                <c:pt idx="11">
                  <c:v>46</c:v>
                </c:pt>
                <c:pt idx="12">
                  <c:v>26</c:v>
                </c:pt>
                <c:pt idx="13">
                  <c:v>26</c:v>
                </c:pt>
                <c:pt idx="14">
                  <c:v>1636</c:v>
                </c:pt>
                <c:pt idx="15">
                  <c:v>1336</c:v>
                </c:pt>
                <c:pt idx="16">
                  <c:v>576</c:v>
                </c:pt>
                <c:pt idx="17">
                  <c:v>302</c:v>
                </c:pt>
                <c:pt idx="18">
                  <c:v>222</c:v>
                </c:pt>
                <c:pt idx="19">
                  <c:v>146</c:v>
                </c:pt>
                <c:pt idx="20">
                  <c:v>154</c:v>
                </c:pt>
                <c:pt idx="21">
                  <c:v>92</c:v>
                </c:pt>
                <c:pt idx="22">
                  <c:v>122</c:v>
                </c:pt>
                <c:pt idx="23">
                  <c:v>50</c:v>
                </c:pt>
                <c:pt idx="24">
                  <c:v>84</c:v>
                </c:pt>
                <c:pt idx="25">
                  <c:v>112</c:v>
                </c:pt>
                <c:pt idx="26">
                  <c:v>166</c:v>
                </c:pt>
                <c:pt idx="27">
                  <c:v>94</c:v>
                </c:pt>
                <c:pt idx="28">
                  <c:v>76</c:v>
                </c:pt>
                <c:pt idx="29">
                  <c:v>100</c:v>
                </c:pt>
                <c:pt idx="30">
                  <c:v>78</c:v>
                </c:pt>
                <c:pt idx="31">
                  <c:v>96</c:v>
                </c:pt>
                <c:pt idx="32">
                  <c:v>108</c:v>
                </c:pt>
                <c:pt idx="33">
                  <c:v>150</c:v>
                </c:pt>
                <c:pt idx="34">
                  <c:v>146</c:v>
                </c:pt>
                <c:pt idx="35">
                  <c:v>68</c:v>
                </c:pt>
                <c:pt idx="36">
                  <c:v>136</c:v>
                </c:pt>
                <c:pt idx="37">
                  <c:v>96</c:v>
                </c:pt>
                <c:pt idx="38">
                  <c:v>106</c:v>
                </c:pt>
                <c:pt idx="39">
                  <c:v>192</c:v>
                </c:pt>
                <c:pt idx="40">
                  <c:v>252</c:v>
                </c:pt>
                <c:pt idx="41">
                  <c:v>200</c:v>
                </c:pt>
                <c:pt idx="42">
                  <c:v>270</c:v>
                </c:pt>
                <c:pt idx="43">
                  <c:v>256</c:v>
                </c:pt>
                <c:pt idx="44">
                  <c:v>192</c:v>
                </c:pt>
                <c:pt idx="45">
                  <c:v>274</c:v>
                </c:pt>
                <c:pt idx="46">
                  <c:v>308</c:v>
                </c:pt>
                <c:pt idx="47">
                  <c:v>260</c:v>
                </c:pt>
                <c:pt idx="48">
                  <c:v>292</c:v>
                </c:pt>
                <c:pt idx="49">
                  <c:v>256</c:v>
                </c:pt>
                <c:pt idx="50">
                  <c:v>302</c:v>
                </c:pt>
                <c:pt idx="51">
                  <c:v>282</c:v>
                </c:pt>
                <c:pt idx="52">
                  <c:v>210</c:v>
                </c:pt>
                <c:pt idx="53">
                  <c:v>340</c:v>
                </c:pt>
                <c:pt idx="54">
                  <c:v>226</c:v>
                </c:pt>
                <c:pt idx="55">
                  <c:v>228</c:v>
                </c:pt>
                <c:pt idx="56">
                  <c:v>262</c:v>
                </c:pt>
                <c:pt idx="57">
                  <c:v>322</c:v>
                </c:pt>
                <c:pt idx="58">
                  <c:v>222</c:v>
                </c:pt>
                <c:pt idx="59">
                  <c:v>286</c:v>
                </c:pt>
                <c:pt idx="60">
                  <c:v>298</c:v>
                </c:pt>
                <c:pt idx="61">
                  <c:v>316</c:v>
                </c:pt>
                <c:pt idx="62">
                  <c:v>316</c:v>
                </c:pt>
                <c:pt idx="63">
                  <c:v>188</c:v>
                </c:pt>
                <c:pt idx="64">
                  <c:v>224</c:v>
                </c:pt>
                <c:pt idx="65">
                  <c:v>224</c:v>
                </c:pt>
                <c:pt idx="66">
                  <c:v>180</c:v>
                </c:pt>
                <c:pt idx="67">
                  <c:v>280</c:v>
                </c:pt>
                <c:pt idx="68">
                  <c:v>284</c:v>
                </c:pt>
                <c:pt idx="69">
                  <c:v>246</c:v>
                </c:pt>
                <c:pt idx="70">
                  <c:v>258</c:v>
                </c:pt>
                <c:pt idx="71">
                  <c:v>250</c:v>
                </c:pt>
                <c:pt idx="72">
                  <c:v>236</c:v>
                </c:pt>
                <c:pt idx="73">
                  <c:v>216</c:v>
                </c:pt>
                <c:pt idx="74">
                  <c:v>182</c:v>
                </c:pt>
                <c:pt idx="75">
                  <c:v>198</c:v>
                </c:pt>
                <c:pt idx="76">
                  <c:v>270</c:v>
                </c:pt>
                <c:pt idx="77">
                  <c:v>178</c:v>
                </c:pt>
                <c:pt idx="78">
                  <c:v>198</c:v>
                </c:pt>
                <c:pt idx="79">
                  <c:v>106</c:v>
                </c:pt>
                <c:pt idx="80">
                  <c:v>126</c:v>
                </c:pt>
                <c:pt idx="81">
                  <c:v>146</c:v>
                </c:pt>
                <c:pt idx="82">
                  <c:v>196</c:v>
                </c:pt>
                <c:pt idx="83">
                  <c:v>160</c:v>
                </c:pt>
                <c:pt idx="84">
                  <c:v>154</c:v>
                </c:pt>
                <c:pt idx="85">
                  <c:v>132</c:v>
                </c:pt>
                <c:pt idx="86">
                  <c:v>138</c:v>
                </c:pt>
                <c:pt idx="87">
                  <c:v>206</c:v>
                </c:pt>
                <c:pt idx="88">
                  <c:v>194</c:v>
                </c:pt>
                <c:pt idx="89">
                  <c:v>178</c:v>
                </c:pt>
                <c:pt idx="90">
                  <c:v>288</c:v>
                </c:pt>
                <c:pt idx="91">
                  <c:v>242</c:v>
                </c:pt>
                <c:pt idx="92">
                  <c:v>204</c:v>
                </c:pt>
                <c:pt idx="93">
                  <c:v>182</c:v>
                </c:pt>
                <c:pt idx="94">
                  <c:v>166</c:v>
                </c:pt>
                <c:pt idx="95">
                  <c:v>136</c:v>
                </c:pt>
                <c:pt idx="96">
                  <c:v>196</c:v>
                </c:pt>
                <c:pt idx="97">
                  <c:v>186</c:v>
                </c:pt>
                <c:pt idx="98">
                  <c:v>218</c:v>
                </c:pt>
                <c:pt idx="99">
                  <c:v>196</c:v>
                </c:pt>
                <c:pt idx="100">
                  <c:v>196</c:v>
                </c:pt>
                <c:pt idx="101">
                  <c:v>204</c:v>
                </c:pt>
                <c:pt idx="102">
                  <c:v>240</c:v>
                </c:pt>
                <c:pt idx="103">
                  <c:v>238</c:v>
                </c:pt>
                <c:pt idx="104">
                  <c:v>222</c:v>
                </c:pt>
                <c:pt idx="105">
                  <c:v>254</c:v>
                </c:pt>
                <c:pt idx="106">
                  <c:v>186</c:v>
                </c:pt>
                <c:pt idx="107">
                  <c:v>22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18</c:v>
                </c:pt>
                <c:pt idx="1">
                  <c:v>13770</c:v>
                </c:pt>
                <c:pt idx="2">
                  <c:v>13187</c:v>
                </c:pt>
                <c:pt idx="3">
                  <c:v>12524</c:v>
                </c:pt>
                <c:pt idx="4">
                  <c:v>12618</c:v>
                </c:pt>
                <c:pt idx="5">
                  <c:v>13768</c:v>
                </c:pt>
                <c:pt idx="6">
                  <c:v>12938</c:v>
                </c:pt>
                <c:pt idx="7">
                  <c:v>12475</c:v>
                </c:pt>
                <c:pt idx="8">
                  <c:v>14854</c:v>
                </c:pt>
                <c:pt idx="9">
                  <c:v>13401</c:v>
                </c:pt>
                <c:pt idx="10">
                  <c:v>13554</c:v>
                </c:pt>
                <c:pt idx="11">
                  <c:v>14162</c:v>
                </c:pt>
                <c:pt idx="12">
                  <c:v>14373</c:v>
                </c:pt>
                <c:pt idx="13">
                  <c:v>16015</c:v>
                </c:pt>
                <c:pt idx="14">
                  <c:v>12880</c:v>
                </c:pt>
                <c:pt idx="15">
                  <c:v>12913</c:v>
                </c:pt>
                <c:pt idx="16">
                  <c:v>13782</c:v>
                </c:pt>
                <c:pt idx="17">
                  <c:v>16074</c:v>
                </c:pt>
                <c:pt idx="18">
                  <c:v>15074</c:v>
                </c:pt>
                <c:pt idx="19">
                  <c:v>14838</c:v>
                </c:pt>
                <c:pt idx="20">
                  <c:v>16629</c:v>
                </c:pt>
                <c:pt idx="21">
                  <c:v>16188</c:v>
                </c:pt>
                <c:pt idx="22">
                  <c:v>15997</c:v>
                </c:pt>
                <c:pt idx="23">
                  <c:v>15611</c:v>
                </c:pt>
                <c:pt idx="24">
                  <c:v>16059</c:v>
                </c:pt>
                <c:pt idx="25">
                  <c:v>15634</c:v>
                </c:pt>
                <c:pt idx="26">
                  <c:v>16535</c:v>
                </c:pt>
                <c:pt idx="27">
                  <c:v>14749</c:v>
                </c:pt>
                <c:pt idx="28">
                  <c:v>13912</c:v>
                </c:pt>
                <c:pt idx="29">
                  <c:v>15040</c:v>
                </c:pt>
                <c:pt idx="30">
                  <c:v>15545</c:v>
                </c:pt>
                <c:pt idx="31">
                  <c:v>14418</c:v>
                </c:pt>
                <c:pt idx="32">
                  <c:v>15122</c:v>
                </c:pt>
                <c:pt idx="33">
                  <c:v>15406</c:v>
                </c:pt>
                <c:pt idx="34">
                  <c:v>17661</c:v>
                </c:pt>
                <c:pt idx="35">
                  <c:v>18756</c:v>
                </c:pt>
                <c:pt idx="36">
                  <c:v>16492</c:v>
                </c:pt>
                <c:pt idx="37">
                  <c:v>15700</c:v>
                </c:pt>
                <c:pt idx="38">
                  <c:v>14408</c:v>
                </c:pt>
                <c:pt idx="39">
                  <c:v>14359</c:v>
                </c:pt>
                <c:pt idx="40">
                  <c:v>12408</c:v>
                </c:pt>
                <c:pt idx="41">
                  <c:v>13562</c:v>
                </c:pt>
                <c:pt idx="42">
                  <c:v>12860</c:v>
                </c:pt>
                <c:pt idx="43">
                  <c:v>12822</c:v>
                </c:pt>
                <c:pt idx="44">
                  <c:v>14636</c:v>
                </c:pt>
                <c:pt idx="45">
                  <c:v>13674</c:v>
                </c:pt>
                <c:pt idx="46">
                  <c:v>13065</c:v>
                </c:pt>
                <c:pt idx="47">
                  <c:v>13914</c:v>
                </c:pt>
                <c:pt idx="48">
                  <c:v>14444</c:v>
                </c:pt>
                <c:pt idx="49">
                  <c:v>10802</c:v>
                </c:pt>
                <c:pt idx="50">
                  <c:v>10867</c:v>
                </c:pt>
                <c:pt idx="51">
                  <c:v>6831</c:v>
                </c:pt>
                <c:pt idx="52">
                  <c:v>8839</c:v>
                </c:pt>
                <c:pt idx="53">
                  <c:v>11710</c:v>
                </c:pt>
                <c:pt idx="54">
                  <c:v>19856</c:v>
                </c:pt>
                <c:pt idx="55">
                  <c:v>23059</c:v>
                </c:pt>
                <c:pt idx="56">
                  <c:v>24499</c:v>
                </c:pt>
                <c:pt idx="57">
                  <c:v>26927</c:v>
                </c:pt>
                <c:pt idx="58">
                  <c:v>23142</c:v>
                </c:pt>
                <c:pt idx="59">
                  <c:v>22736</c:v>
                </c:pt>
                <c:pt idx="60">
                  <c:v>23818</c:v>
                </c:pt>
                <c:pt idx="61">
                  <c:v>22815</c:v>
                </c:pt>
                <c:pt idx="62">
                  <c:v>20993</c:v>
                </c:pt>
                <c:pt idx="63">
                  <c:v>19736</c:v>
                </c:pt>
                <c:pt idx="64">
                  <c:v>22316</c:v>
                </c:pt>
                <c:pt idx="65">
                  <c:v>21989</c:v>
                </c:pt>
                <c:pt idx="66">
                  <c:v>19687</c:v>
                </c:pt>
                <c:pt idx="67">
                  <c:v>20130</c:v>
                </c:pt>
                <c:pt idx="68">
                  <c:v>20032</c:v>
                </c:pt>
                <c:pt idx="69">
                  <c:v>21480</c:v>
                </c:pt>
                <c:pt idx="70">
                  <c:v>20536</c:v>
                </c:pt>
                <c:pt idx="71">
                  <c:v>19836</c:v>
                </c:pt>
                <c:pt idx="72">
                  <c:v>23937</c:v>
                </c:pt>
                <c:pt idx="73">
                  <c:v>26963</c:v>
                </c:pt>
                <c:pt idx="74">
                  <c:v>29029</c:v>
                </c:pt>
                <c:pt idx="75">
                  <c:v>28022</c:v>
                </c:pt>
                <c:pt idx="76">
                  <c:v>28815</c:v>
                </c:pt>
                <c:pt idx="77">
                  <c:v>28522</c:v>
                </c:pt>
                <c:pt idx="78">
                  <c:v>30126</c:v>
                </c:pt>
                <c:pt idx="79">
                  <c:v>25552</c:v>
                </c:pt>
                <c:pt idx="80">
                  <c:v>23405</c:v>
                </c:pt>
                <c:pt idx="81">
                  <c:v>22457</c:v>
                </c:pt>
                <c:pt idx="82">
                  <c:v>22287</c:v>
                </c:pt>
                <c:pt idx="83">
                  <c:v>25998</c:v>
                </c:pt>
                <c:pt idx="84">
                  <c:v>26178</c:v>
                </c:pt>
                <c:pt idx="85">
                  <c:v>26424</c:v>
                </c:pt>
                <c:pt idx="86">
                  <c:v>25270</c:v>
                </c:pt>
                <c:pt idx="87">
                  <c:v>25833</c:v>
                </c:pt>
                <c:pt idx="88">
                  <c:v>24113</c:v>
                </c:pt>
                <c:pt idx="89">
                  <c:v>24662</c:v>
                </c:pt>
                <c:pt idx="90">
                  <c:v>21725</c:v>
                </c:pt>
                <c:pt idx="91">
                  <c:v>22807</c:v>
                </c:pt>
                <c:pt idx="92">
                  <c:v>19488</c:v>
                </c:pt>
                <c:pt idx="93">
                  <c:v>18353</c:v>
                </c:pt>
                <c:pt idx="94">
                  <c:v>20147</c:v>
                </c:pt>
                <c:pt idx="95">
                  <c:v>22422</c:v>
                </c:pt>
                <c:pt idx="96">
                  <c:v>23180</c:v>
                </c:pt>
                <c:pt idx="97">
                  <c:v>21596</c:v>
                </c:pt>
                <c:pt idx="98">
                  <c:v>21277</c:v>
                </c:pt>
                <c:pt idx="99">
                  <c:v>20811</c:v>
                </c:pt>
                <c:pt idx="100">
                  <c:v>22963</c:v>
                </c:pt>
                <c:pt idx="101">
                  <c:v>22045</c:v>
                </c:pt>
                <c:pt idx="102">
                  <c:v>24420</c:v>
                </c:pt>
                <c:pt idx="103">
                  <c:v>24889</c:v>
                </c:pt>
                <c:pt idx="104">
                  <c:v>20159</c:v>
                </c:pt>
                <c:pt idx="105">
                  <c:v>18974</c:v>
                </c:pt>
                <c:pt idx="106">
                  <c:v>20654</c:v>
                </c:pt>
                <c:pt idx="107">
                  <c:v>18733</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48</c:v>
                </c:pt>
                <c:pt idx="1">
                  <c:v>10792</c:v>
                </c:pt>
                <c:pt idx="2">
                  <c:v>10092</c:v>
                </c:pt>
                <c:pt idx="3">
                  <c:v>6823</c:v>
                </c:pt>
                <c:pt idx="4">
                  <c:v>4430</c:v>
                </c:pt>
                <c:pt idx="5">
                  <c:v>3676</c:v>
                </c:pt>
                <c:pt idx="6">
                  <c:v>3566</c:v>
                </c:pt>
                <c:pt idx="7">
                  <c:v>7690</c:v>
                </c:pt>
                <c:pt idx="8">
                  <c:v>3042</c:v>
                </c:pt>
                <c:pt idx="9">
                  <c:v>3114</c:v>
                </c:pt>
                <c:pt idx="10">
                  <c:v>6582</c:v>
                </c:pt>
                <c:pt idx="11">
                  <c:v>4008</c:v>
                </c:pt>
                <c:pt idx="12">
                  <c:v>2248</c:v>
                </c:pt>
                <c:pt idx="13">
                  <c:v>2128</c:v>
                </c:pt>
                <c:pt idx="14">
                  <c:v>3146</c:v>
                </c:pt>
                <c:pt idx="15">
                  <c:v>7800</c:v>
                </c:pt>
                <c:pt idx="16">
                  <c:v>3170</c:v>
                </c:pt>
                <c:pt idx="17">
                  <c:v>634</c:v>
                </c:pt>
                <c:pt idx="18">
                  <c:v>914</c:v>
                </c:pt>
                <c:pt idx="19">
                  <c:v>794</c:v>
                </c:pt>
                <c:pt idx="20">
                  <c:v>1802</c:v>
                </c:pt>
                <c:pt idx="21">
                  <c:v>244</c:v>
                </c:pt>
                <c:pt idx="22">
                  <c:v>78</c:v>
                </c:pt>
                <c:pt idx="23">
                  <c:v>192</c:v>
                </c:pt>
                <c:pt idx="24">
                  <c:v>66</c:v>
                </c:pt>
                <c:pt idx="25">
                  <c:v>156</c:v>
                </c:pt>
                <c:pt idx="26">
                  <c:v>138</c:v>
                </c:pt>
                <c:pt idx="27">
                  <c:v>1500</c:v>
                </c:pt>
                <c:pt idx="28">
                  <c:v>5162</c:v>
                </c:pt>
                <c:pt idx="29">
                  <c:v>2728</c:v>
                </c:pt>
                <c:pt idx="30">
                  <c:v>2124</c:v>
                </c:pt>
                <c:pt idx="31">
                  <c:v>1920</c:v>
                </c:pt>
                <c:pt idx="32">
                  <c:v>1896</c:v>
                </c:pt>
                <c:pt idx="33">
                  <c:v>1758</c:v>
                </c:pt>
                <c:pt idx="34">
                  <c:v>1512</c:v>
                </c:pt>
                <c:pt idx="35">
                  <c:v>422</c:v>
                </c:pt>
                <c:pt idx="36">
                  <c:v>216</c:v>
                </c:pt>
                <c:pt idx="37">
                  <c:v>110</c:v>
                </c:pt>
                <c:pt idx="38">
                  <c:v>732</c:v>
                </c:pt>
                <c:pt idx="39">
                  <c:v>1514</c:v>
                </c:pt>
                <c:pt idx="40">
                  <c:v>9464</c:v>
                </c:pt>
                <c:pt idx="41">
                  <c:v>10943</c:v>
                </c:pt>
                <c:pt idx="42">
                  <c:v>11873</c:v>
                </c:pt>
                <c:pt idx="43">
                  <c:v>13733</c:v>
                </c:pt>
                <c:pt idx="44">
                  <c:v>14194</c:v>
                </c:pt>
                <c:pt idx="45">
                  <c:v>16678</c:v>
                </c:pt>
                <c:pt idx="46">
                  <c:v>26659</c:v>
                </c:pt>
                <c:pt idx="47">
                  <c:v>26457</c:v>
                </c:pt>
                <c:pt idx="48">
                  <c:v>34149</c:v>
                </c:pt>
                <c:pt idx="49">
                  <c:v>54478</c:v>
                </c:pt>
                <c:pt idx="50">
                  <c:v>91195</c:v>
                </c:pt>
                <c:pt idx="51">
                  <c:v>141008</c:v>
                </c:pt>
                <c:pt idx="52">
                  <c:v>5142</c:v>
                </c:pt>
                <c:pt idx="53">
                  <c:v>5587</c:v>
                </c:pt>
                <c:pt idx="54">
                  <c:v>2614</c:v>
                </c:pt>
                <c:pt idx="55">
                  <c:v>1455</c:v>
                </c:pt>
                <c:pt idx="56">
                  <c:v>725</c:v>
                </c:pt>
                <c:pt idx="57">
                  <c:v>702</c:v>
                </c:pt>
                <c:pt idx="58">
                  <c:v>3966</c:v>
                </c:pt>
                <c:pt idx="59">
                  <c:v>11541</c:v>
                </c:pt>
                <c:pt idx="60">
                  <c:v>7003</c:v>
                </c:pt>
                <c:pt idx="61">
                  <c:v>6231</c:v>
                </c:pt>
                <c:pt idx="62">
                  <c:v>6604</c:v>
                </c:pt>
                <c:pt idx="63">
                  <c:v>12253</c:v>
                </c:pt>
                <c:pt idx="64">
                  <c:v>6359</c:v>
                </c:pt>
                <c:pt idx="65">
                  <c:v>6038</c:v>
                </c:pt>
                <c:pt idx="66">
                  <c:v>6659</c:v>
                </c:pt>
                <c:pt idx="67">
                  <c:v>11896</c:v>
                </c:pt>
                <c:pt idx="68">
                  <c:v>6213</c:v>
                </c:pt>
                <c:pt idx="69">
                  <c:v>5746</c:v>
                </c:pt>
                <c:pt idx="70">
                  <c:v>5370</c:v>
                </c:pt>
                <c:pt idx="71">
                  <c:v>6305</c:v>
                </c:pt>
                <c:pt idx="72">
                  <c:v>6948</c:v>
                </c:pt>
                <c:pt idx="73">
                  <c:v>41</c:v>
                </c:pt>
                <c:pt idx="74">
                  <c:v>266</c:v>
                </c:pt>
                <c:pt idx="75">
                  <c:v>71</c:v>
                </c:pt>
                <c:pt idx="76">
                  <c:v>99</c:v>
                </c:pt>
                <c:pt idx="77">
                  <c:v>56</c:v>
                </c:pt>
                <c:pt idx="78">
                  <c:v>360</c:v>
                </c:pt>
                <c:pt idx="79">
                  <c:v>2886</c:v>
                </c:pt>
                <c:pt idx="80">
                  <c:v>6201</c:v>
                </c:pt>
                <c:pt idx="81">
                  <c:v>6005</c:v>
                </c:pt>
                <c:pt idx="82">
                  <c:v>5918</c:v>
                </c:pt>
                <c:pt idx="83">
                  <c:v>1399</c:v>
                </c:pt>
                <c:pt idx="84">
                  <c:v>1122</c:v>
                </c:pt>
                <c:pt idx="85">
                  <c:v>242</c:v>
                </c:pt>
                <c:pt idx="86">
                  <c:v>792</c:v>
                </c:pt>
                <c:pt idx="87">
                  <c:v>249</c:v>
                </c:pt>
                <c:pt idx="88">
                  <c:v>257</c:v>
                </c:pt>
                <c:pt idx="89">
                  <c:v>261</c:v>
                </c:pt>
                <c:pt idx="90">
                  <c:v>1199</c:v>
                </c:pt>
                <c:pt idx="91">
                  <c:v>2960</c:v>
                </c:pt>
                <c:pt idx="92">
                  <c:v>6665</c:v>
                </c:pt>
                <c:pt idx="93">
                  <c:v>12478</c:v>
                </c:pt>
                <c:pt idx="94">
                  <c:v>11648</c:v>
                </c:pt>
                <c:pt idx="95">
                  <c:v>10494</c:v>
                </c:pt>
                <c:pt idx="96">
                  <c:v>13311</c:v>
                </c:pt>
                <c:pt idx="97">
                  <c:v>16093</c:v>
                </c:pt>
                <c:pt idx="98">
                  <c:v>19979</c:v>
                </c:pt>
                <c:pt idx="99">
                  <c:v>32195</c:v>
                </c:pt>
                <c:pt idx="100">
                  <c:v>35366</c:v>
                </c:pt>
                <c:pt idx="101">
                  <c:v>49136</c:v>
                </c:pt>
                <c:pt idx="102">
                  <c:v>76956</c:v>
                </c:pt>
                <c:pt idx="103">
                  <c:v>200721</c:v>
                </c:pt>
                <c:pt idx="104">
                  <c:v>6521</c:v>
                </c:pt>
                <c:pt idx="105">
                  <c:v>1504</c:v>
                </c:pt>
                <c:pt idx="106">
                  <c:v>778</c:v>
                </c:pt>
                <c:pt idx="107">
                  <c:v>41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68</c:v>
                </c:pt>
                <c:pt idx="1">
                  <c:v>164</c:v>
                </c:pt>
                <c:pt idx="2">
                  <c:v>296</c:v>
                </c:pt>
                <c:pt idx="3">
                  <c:v>420</c:v>
                </c:pt>
                <c:pt idx="4">
                  <c:v>448</c:v>
                </c:pt>
                <c:pt idx="5">
                  <c:v>644</c:v>
                </c:pt>
                <c:pt idx="6">
                  <c:v>596</c:v>
                </c:pt>
                <c:pt idx="7">
                  <c:v>724</c:v>
                </c:pt>
                <c:pt idx="8">
                  <c:v>840</c:v>
                </c:pt>
                <c:pt idx="9">
                  <c:v>832</c:v>
                </c:pt>
                <c:pt idx="10">
                  <c:v>756</c:v>
                </c:pt>
                <c:pt idx="11">
                  <c:v>732</c:v>
                </c:pt>
                <c:pt idx="12">
                  <c:v>756</c:v>
                </c:pt>
                <c:pt idx="13">
                  <c:v>940</c:v>
                </c:pt>
                <c:pt idx="14">
                  <c:v>1104</c:v>
                </c:pt>
                <c:pt idx="15">
                  <c:v>968</c:v>
                </c:pt>
                <c:pt idx="16">
                  <c:v>1072</c:v>
                </c:pt>
                <c:pt idx="17">
                  <c:v>1088</c:v>
                </c:pt>
                <c:pt idx="18">
                  <c:v>1036</c:v>
                </c:pt>
                <c:pt idx="19">
                  <c:v>900</c:v>
                </c:pt>
                <c:pt idx="20">
                  <c:v>1076</c:v>
                </c:pt>
                <c:pt idx="21">
                  <c:v>1156</c:v>
                </c:pt>
                <c:pt idx="22">
                  <c:v>1216</c:v>
                </c:pt>
                <c:pt idx="23">
                  <c:v>1160</c:v>
                </c:pt>
                <c:pt idx="24">
                  <c:v>1264</c:v>
                </c:pt>
                <c:pt idx="25">
                  <c:v>1212</c:v>
                </c:pt>
                <c:pt idx="26">
                  <c:v>1212</c:v>
                </c:pt>
                <c:pt idx="27">
                  <c:v>1288</c:v>
                </c:pt>
                <c:pt idx="28">
                  <c:v>1328</c:v>
                </c:pt>
                <c:pt idx="29">
                  <c:v>1316</c:v>
                </c:pt>
                <c:pt idx="30">
                  <c:v>1424</c:v>
                </c:pt>
                <c:pt idx="31">
                  <c:v>1360</c:v>
                </c:pt>
                <c:pt idx="32">
                  <c:v>1504</c:v>
                </c:pt>
                <c:pt idx="33">
                  <c:v>1432</c:v>
                </c:pt>
                <c:pt idx="34">
                  <c:v>1356</c:v>
                </c:pt>
                <c:pt idx="35">
                  <c:v>1332</c:v>
                </c:pt>
                <c:pt idx="36">
                  <c:v>1428</c:v>
                </c:pt>
                <c:pt idx="37">
                  <c:v>1360</c:v>
                </c:pt>
                <c:pt idx="38">
                  <c:v>1348</c:v>
                </c:pt>
                <c:pt idx="39">
                  <c:v>1460</c:v>
                </c:pt>
                <c:pt idx="40">
                  <c:v>1504</c:v>
                </c:pt>
                <c:pt idx="41">
                  <c:v>1508</c:v>
                </c:pt>
                <c:pt idx="42">
                  <c:v>1356</c:v>
                </c:pt>
                <c:pt idx="43">
                  <c:v>1580</c:v>
                </c:pt>
                <c:pt idx="44">
                  <c:v>1568</c:v>
                </c:pt>
                <c:pt idx="45">
                  <c:v>1552</c:v>
                </c:pt>
                <c:pt idx="46">
                  <c:v>1388</c:v>
                </c:pt>
                <c:pt idx="47">
                  <c:v>1452</c:v>
                </c:pt>
                <c:pt idx="48">
                  <c:v>1492</c:v>
                </c:pt>
                <c:pt idx="49">
                  <c:v>900</c:v>
                </c:pt>
                <c:pt idx="50">
                  <c:v>512</c:v>
                </c:pt>
                <c:pt idx="51">
                  <c:v>376</c:v>
                </c:pt>
                <c:pt idx="52">
                  <c:v>240</c:v>
                </c:pt>
                <c:pt idx="53">
                  <c:v>592</c:v>
                </c:pt>
                <c:pt idx="54">
                  <c:v>344</c:v>
                </c:pt>
                <c:pt idx="55">
                  <c:v>144</c:v>
                </c:pt>
                <c:pt idx="56">
                  <c:v>132</c:v>
                </c:pt>
                <c:pt idx="57">
                  <c:v>68</c:v>
                </c:pt>
                <c:pt idx="58">
                  <c:v>144</c:v>
                </c:pt>
                <c:pt idx="59">
                  <c:v>152</c:v>
                </c:pt>
                <c:pt idx="60">
                  <c:v>192</c:v>
                </c:pt>
                <c:pt idx="61">
                  <c:v>172</c:v>
                </c:pt>
                <c:pt idx="62">
                  <c:v>196</c:v>
                </c:pt>
                <c:pt idx="63">
                  <c:v>84</c:v>
                </c:pt>
                <c:pt idx="64">
                  <c:v>172</c:v>
                </c:pt>
                <c:pt idx="65">
                  <c:v>56</c:v>
                </c:pt>
                <c:pt idx="66">
                  <c:v>112</c:v>
                </c:pt>
                <c:pt idx="67">
                  <c:v>84</c:v>
                </c:pt>
                <c:pt idx="68">
                  <c:v>56</c:v>
                </c:pt>
                <c:pt idx="69">
                  <c:v>108</c:v>
                </c:pt>
                <c:pt idx="70">
                  <c:v>36</c:v>
                </c:pt>
                <c:pt idx="71">
                  <c:v>32</c:v>
                </c:pt>
                <c:pt idx="72">
                  <c:v>96</c:v>
                </c:pt>
                <c:pt idx="73">
                  <c:v>44</c:v>
                </c:pt>
                <c:pt idx="74">
                  <c:v>60</c:v>
                </c:pt>
                <c:pt idx="75">
                  <c:v>48</c:v>
                </c:pt>
                <c:pt idx="76">
                  <c:v>28</c:v>
                </c:pt>
                <c:pt idx="77">
                  <c:v>32</c:v>
                </c:pt>
                <c:pt idx="78">
                  <c:v>24</c:v>
                </c:pt>
                <c:pt idx="79">
                  <c:v>12</c:v>
                </c:pt>
                <c:pt idx="80">
                  <c:v>16</c:v>
                </c:pt>
                <c:pt idx="81">
                  <c:v>16</c:v>
                </c:pt>
                <c:pt idx="82">
                  <c:v>12</c:v>
                </c:pt>
                <c:pt idx="83">
                  <c:v>20</c:v>
                </c:pt>
                <c:pt idx="84">
                  <c:v>8</c:v>
                </c:pt>
                <c:pt idx="85">
                  <c:v>28</c:v>
                </c:pt>
                <c:pt idx="86">
                  <c:v>8</c:v>
                </c:pt>
                <c:pt idx="87">
                  <c:v>44</c:v>
                </c:pt>
                <c:pt idx="88">
                  <c:v>20</c:v>
                </c:pt>
                <c:pt idx="89">
                  <c:v>12</c:v>
                </c:pt>
                <c:pt idx="90">
                  <c:v>8</c:v>
                </c:pt>
                <c:pt idx="91">
                  <c:v>4</c:v>
                </c:pt>
                <c:pt idx="92">
                  <c:v>0</c:v>
                </c:pt>
                <c:pt idx="93">
                  <c:v>16</c:v>
                </c:pt>
                <c:pt idx="94">
                  <c:v>4</c:v>
                </c:pt>
                <c:pt idx="95">
                  <c:v>4</c:v>
                </c:pt>
                <c:pt idx="96">
                  <c:v>4</c:v>
                </c:pt>
                <c:pt idx="97">
                  <c:v>24</c:v>
                </c:pt>
                <c:pt idx="98">
                  <c:v>8</c:v>
                </c:pt>
                <c:pt idx="99">
                  <c:v>4</c:v>
                </c:pt>
                <c:pt idx="100">
                  <c:v>32</c:v>
                </c:pt>
                <c:pt idx="101">
                  <c:v>8</c:v>
                </c:pt>
                <c:pt idx="102">
                  <c:v>24</c:v>
                </c:pt>
                <c:pt idx="103">
                  <c:v>36</c:v>
                </c:pt>
                <c:pt idx="104">
                  <c:v>84</c:v>
                </c:pt>
                <c:pt idx="105">
                  <c:v>408</c:v>
                </c:pt>
                <c:pt idx="106">
                  <c:v>748</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24</c:v>
                </c:pt>
                <c:pt idx="1">
                  <c:v>0</c:v>
                </c:pt>
                <c:pt idx="2">
                  <c:v>0</c:v>
                </c:pt>
                <c:pt idx="3">
                  <c:v>4</c:v>
                </c:pt>
                <c:pt idx="4">
                  <c:v>0</c:v>
                </c:pt>
                <c:pt idx="5">
                  <c:v>32</c:v>
                </c:pt>
                <c:pt idx="6">
                  <c:v>92</c:v>
                </c:pt>
                <c:pt idx="7">
                  <c:v>104</c:v>
                </c:pt>
                <c:pt idx="8">
                  <c:v>44</c:v>
                </c:pt>
                <c:pt idx="9">
                  <c:v>64</c:v>
                </c:pt>
                <c:pt idx="10">
                  <c:v>96</c:v>
                </c:pt>
                <c:pt idx="11">
                  <c:v>80</c:v>
                </c:pt>
                <c:pt idx="12">
                  <c:v>84</c:v>
                </c:pt>
                <c:pt idx="13">
                  <c:v>88</c:v>
                </c:pt>
                <c:pt idx="14">
                  <c:v>64</c:v>
                </c:pt>
                <c:pt idx="15">
                  <c:v>76</c:v>
                </c:pt>
                <c:pt idx="16">
                  <c:v>68</c:v>
                </c:pt>
                <c:pt idx="17">
                  <c:v>108</c:v>
                </c:pt>
                <c:pt idx="18">
                  <c:v>84</c:v>
                </c:pt>
                <c:pt idx="19">
                  <c:v>72</c:v>
                </c:pt>
                <c:pt idx="20">
                  <c:v>128</c:v>
                </c:pt>
                <c:pt idx="21">
                  <c:v>68</c:v>
                </c:pt>
                <c:pt idx="22">
                  <c:v>132</c:v>
                </c:pt>
                <c:pt idx="23">
                  <c:v>116</c:v>
                </c:pt>
                <c:pt idx="24">
                  <c:v>72</c:v>
                </c:pt>
                <c:pt idx="25">
                  <c:v>120</c:v>
                </c:pt>
                <c:pt idx="26">
                  <c:v>160</c:v>
                </c:pt>
                <c:pt idx="27">
                  <c:v>76</c:v>
                </c:pt>
                <c:pt idx="28">
                  <c:v>96</c:v>
                </c:pt>
                <c:pt idx="29">
                  <c:v>92</c:v>
                </c:pt>
                <c:pt idx="30">
                  <c:v>56</c:v>
                </c:pt>
                <c:pt idx="31">
                  <c:v>96</c:v>
                </c:pt>
                <c:pt idx="32">
                  <c:v>104</c:v>
                </c:pt>
                <c:pt idx="33">
                  <c:v>40</c:v>
                </c:pt>
                <c:pt idx="34">
                  <c:v>48</c:v>
                </c:pt>
                <c:pt idx="35">
                  <c:v>44</c:v>
                </c:pt>
                <c:pt idx="36">
                  <c:v>104</c:v>
                </c:pt>
                <c:pt idx="37">
                  <c:v>76</c:v>
                </c:pt>
                <c:pt idx="38">
                  <c:v>80</c:v>
                </c:pt>
                <c:pt idx="39">
                  <c:v>112</c:v>
                </c:pt>
                <c:pt idx="40">
                  <c:v>96</c:v>
                </c:pt>
                <c:pt idx="41">
                  <c:v>80</c:v>
                </c:pt>
                <c:pt idx="42">
                  <c:v>92</c:v>
                </c:pt>
                <c:pt idx="43">
                  <c:v>12</c:v>
                </c:pt>
                <c:pt idx="44">
                  <c:v>0</c:v>
                </c:pt>
                <c:pt idx="45">
                  <c:v>28</c:v>
                </c:pt>
                <c:pt idx="46">
                  <c:v>0</c:v>
                </c:pt>
                <c:pt idx="47">
                  <c:v>0</c:v>
                </c:pt>
                <c:pt idx="48">
                  <c:v>0</c:v>
                </c:pt>
                <c:pt idx="49">
                  <c:v>796</c:v>
                </c:pt>
                <c:pt idx="50">
                  <c:v>1644</c:v>
                </c:pt>
                <c:pt idx="51">
                  <c:v>1208</c:v>
                </c:pt>
                <c:pt idx="52">
                  <c:v>1048</c:v>
                </c:pt>
                <c:pt idx="53">
                  <c:v>5212</c:v>
                </c:pt>
                <c:pt idx="54">
                  <c:v>5200</c:v>
                </c:pt>
                <c:pt idx="55">
                  <c:v>4308</c:v>
                </c:pt>
                <c:pt idx="56">
                  <c:v>2080</c:v>
                </c:pt>
                <c:pt idx="57">
                  <c:v>1280</c:v>
                </c:pt>
                <c:pt idx="58">
                  <c:v>696</c:v>
                </c:pt>
                <c:pt idx="59">
                  <c:v>656</c:v>
                </c:pt>
                <c:pt idx="60">
                  <c:v>496</c:v>
                </c:pt>
                <c:pt idx="61">
                  <c:v>132</c:v>
                </c:pt>
                <c:pt idx="62">
                  <c:v>144</c:v>
                </c:pt>
                <c:pt idx="63">
                  <c:v>208</c:v>
                </c:pt>
                <c:pt idx="64">
                  <c:v>100</c:v>
                </c:pt>
                <c:pt idx="65">
                  <c:v>12</c:v>
                </c:pt>
                <c:pt idx="66">
                  <c:v>28</c:v>
                </c:pt>
                <c:pt idx="67">
                  <c:v>20</c:v>
                </c:pt>
                <c:pt idx="68">
                  <c:v>52</c:v>
                </c:pt>
                <c:pt idx="69">
                  <c:v>12</c:v>
                </c:pt>
                <c:pt idx="70">
                  <c:v>4</c:v>
                </c:pt>
                <c:pt idx="71">
                  <c:v>20</c:v>
                </c:pt>
                <c:pt idx="72">
                  <c:v>88</c:v>
                </c:pt>
                <c:pt idx="73">
                  <c:v>0</c:v>
                </c:pt>
                <c:pt idx="74">
                  <c:v>0</c:v>
                </c:pt>
                <c:pt idx="75">
                  <c:v>60</c:v>
                </c:pt>
                <c:pt idx="76">
                  <c:v>8</c:v>
                </c:pt>
                <c:pt idx="77">
                  <c:v>12</c:v>
                </c:pt>
                <c:pt idx="78">
                  <c:v>48</c:v>
                </c:pt>
                <c:pt idx="79">
                  <c:v>60</c:v>
                </c:pt>
                <c:pt idx="80">
                  <c:v>60</c:v>
                </c:pt>
                <c:pt idx="81">
                  <c:v>8</c:v>
                </c:pt>
                <c:pt idx="82">
                  <c:v>4</c:v>
                </c:pt>
                <c:pt idx="83">
                  <c:v>8</c:v>
                </c:pt>
                <c:pt idx="84">
                  <c:v>0</c:v>
                </c:pt>
                <c:pt idx="85">
                  <c:v>0</c:v>
                </c:pt>
                <c:pt idx="86">
                  <c:v>0</c:v>
                </c:pt>
                <c:pt idx="87">
                  <c:v>0</c:v>
                </c:pt>
                <c:pt idx="88">
                  <c:v>0</c:v>
                </c:pt>
                <c:pt idx="89">
                  <c:v>0</c:v>
                </c:pt>
                <c:pt idx="90">
                  <c:v>16</c:v>
                </c:pt>
                <c:pt idx="91">
                  <c:v>0</c:v>
                </c:pt>
                <c:pt idx="92">
                  <c:v>8</c:v>
                </c:pt>
                <c:pt idx="93">
                  <c:v>4</c:v>
                </c:pt>
                <c:pt idx="94">
                  <c:v>12</c:v>
                </c:pt>
                <c:pt idx="95">
                  <c:v>0</c:v>
                </c:pt>
                <c:pt idx="96">
                  <c:v>8</c:v>
                </c:pt>
                <c:pt idx="97">
                  <c:v>0</c:v>
                </c:pt>
                <c:pt idx="98">
                  <c:v>0</c:v>
                </c:pt>
                <c:pt idx="99">
                  <c:v>0</c:v>
                </c:pt>
                <c:pt idx="100">
                  <c:v>8</c:v>
                </c:pt>
                <c:pt idx="101">
                  <c:v>8</c:v>
                </c:pt>
                <c:pt idx="102">
                  <c:v>0</c:v>
                </c:pt>
                <c:pt idx="103">
                  <c:v>0</c:v>
                </c:pt>
                <c:pt idx="104">
                  <c:v>0</c:v>
                </c:pt>
                <c:pt idx="105">
                  <c:v>8</c:v>
                </c:pt>
                <c:pt idx="106">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040</c:v>
                </c:pt>
                <c:pt idx="1">
                  <c:v>75441</c:v>
                </c:pt>
                <c:pt idx="2">
                  <c:v>77128</c:v>
                </c:pt>
                <c:pt idx="3">
                  <c:v>75990</c:v>
                </c:pt>
                <c:pt idx="4">
                  <c:v>79592</c:v>
                </c:pt>
                <c:pt idx="5">
                  <c:v>73840</c:v>
                </c:pt>
                <c:pt idx="6">
                  <c:v>68352</c:v>
                </c:pt>
                <c:pt idx="7">
                  <c:v>69768</c:v>
                </c:pt>
                <c:pt idx="8">
                  <c:v>74872</c:v>
                </c:pt>
                <c:pt idx="9">
                  <c:v>69492</c:v>
                </c:pt>
                <c:pt idx="10">
                  <c:v>69108</c:v>
                </c:pt>
                <c:pt idx="11">
                  <c:v>69464</c:v>
                </c:pt>
                <c:pt idx="12">
                  <c:v>66866</c:v>
                </c:pt>
                <c:pt idx="13">
                  <c:v>73960</c:v>
                </c:pt>
                <c:pt idx="14">
                  <c:v>65196</c:v>
                </c:pt>
                <c:pt idx="15">
                  <c:v>67123</c:v>
                </c:pt>
                <c:pt idx="16">
                  <c:v>66848</c:v>
                </c:pt>
                <c:pt idx="17">
                  <c:v>76094</c:v>
                </c:pt>
                <c:pt idx="18">
                  <c:v>72148</c:v>
                </c:pt>
                <c:pt idx="19">
                  <c:v>70406</c:v>
                </c:pt>
                <c:pt idx="20">
                  <c:v>76692</c:v>
                </c:pt>
                <c:pt idx="21">
                  <c:v>79728</c:v>
                </c:pt>
                <c:pt idx="22">
                  <c:v>79328</c:v>
                </c:pt>
                <c:pt idx="23">
                  <c:v>76816</c:v>
                </c:pt>
                <c:pt idx="24">
                  <c:v>75517</c:v>
                </c:pt>
                <c:pt idx="25">
                  <c:v>77314</c:v>
                </c:pt>
                <c:pt idx="26">
                  <c:v>79868</c:v>
                </c:pt>
                <c:pt idx="27">
                  <c:v>72572</c:v>
                </c:pt>
                <c:pt idx="28">
                  <c:v>71006</c:v>
                </c:pt>
                <c:pt idx="29">
                  <c:v>68600</c:v>
                </c:pt>
                <c:pt idx="30">
                  <c:v>74056</c:v>
                </c:pt>
                <c:pt idx="31">
                  <c:v>70148</c:v>
                </c:pt>
                <c:pt idx="32">
                  <c:v>70948</c:v>
                </c:pt>
                <c:pt idx="33">
                  <c:v>67140</c:v>
                </c:pt>
                <c:pt idx="34">
                  <c:v>66610</c:v>
                </c:pt>
                <c:pt idx="35">
                  <c:v>71300</c:v>
                </c:pt>
                <c:pt idx="36">
                  <c:v>72816</c:v>
                </c:pt>
                <c:pt idx="37">
                  <c:v>71236</c:v>
                </c:pt>
                <c:pt idx="38">
                  <c:v>68228</c:v>
                </c:pt>
                <c:pt idx="39">
                  <c:v>68516</c:v>
                </c:pt>
                <c:pt idx="40">
                  <c:v>58784</c:v>
                </c:pt>
                <c:pt idx="41">
                  <c:v>58120</c:v>
                </c:pt>
                <c:pt idx="42">
                  <c:v>58360</c:v>
                </c:pt>
                <c:pt idx="43">
                  <c:v>63144</c:v>
                </c:pt>
                <c:pt idx="44">
                  <c:v>69732</c:v>
                </c:pt>
                <c:pt idx="45">
                  <c:v>70148</c:v>
                </c:pt>
                <c:pt idx="46">
                  <c:v>65352</c:v>
                </c:pt>
                <c:pt idx="47">
                  <c:v>67778</c:v>
                </c:pt>
                <c:pt idx="48">
                  <c:v>71488</c:v>
                </c:pt>
                <c:pt idx="49">
                  <c:v>69588</c:v>
                </c:pt>
                <c:pt idx="50">
                  <c:v>73700</c:v>
                </c:pt>
                <c:pt idx="51">
                  <c:v>52066</c:v>
                </c:pt>
                <c:pt idx="52">
                  <c:v>61325</c:v>
                </c:pt>
                <c:pt idx="53">
                  <c:v>61836</c:v>
                </c:pt>
                <c:pt idx="54">
                  <c:v>67454</c:v>
                </c:pt>
                <c:pt idx="55">
                  <c:v>73676</c:v>
                </c:pt>
                <c:pt idx="56">
                  <c:v>65022</c:v>
                </c:pt>
                <c:pt idx="57">
                  <c:v>52405</c:v>
                </c:pt>
                <c:pt idx="58">
                  <c:v>45461</c:v>
                </c:pt>
                <c:pt idx="59">
                  <c:v>42749</c:v>
                </c:pt>
                <c:pt idx="60">
                  <c:v>41355</c:v>
                </c:pt>
                <c:pt idx="61">
                  <c:v>42039</c:v>
                </c:pt>
                <c:pt idx="62">
                  <c:v>48360</c:v>
                </c:pt>
                <c:pt idx="63">
                  <c:v>59745</c:v>
                </c:pt>
                <c:pt idx="64">
                  <c:v>59538</c:v>
                </c:pt>
                <c:pt idx="65">
                  <c:v>60468</c:v>
                </c:pt>
                <c:pt idx="66">
                  <c:v>59251</c:v>
                </c:pt>
                <c:pt idx="67">
                  <c:v>57589</c:v>
                </c:pt>
                <c:pt idx="68">
                  <c:v>57841</c:v>
                </c:pt>
                <c:pt idx="69">
                  <c:v>60307</c:v>
                </c:pt>
                <c:pt idx="70">
                  <c:v>59512</c:v>
                </c:pt>
                <c:pt idx="71">
                  <c:v>56718</c:v>
                </c:pt>
                <c:pt idx="72">
                  <c:v>67465</c:v>
                </c:pt>
                <c:pt idx="73">
                  <c:v>71356</c:v>
                </c:pt>
                <c:pt idx="74">
                  <c:v>75809</c:v>
                </c:pt>
                <c:pt idx="75">
                  <c:v>72235</c:v>
                </c:pt>
                <c:pt idx="76">
                  <c:v>70456</c:v>
                </c:pt>
                <c:pt idx="77">
                  <c:v>70886</c:v>
                </c:pt>
                <c:pt idx="78">
                  <c:v>78431</c:v>
                </c:pt>
                <c:pt idx="79">
                  <c:v>63776</c:v>
                </c:pt>
                <c:pt idx="80">
                  <c:v>60217</c:v>
                </c:pt>
                <c:pt idx="81">
                  <c:v>57018</c:v>
                </c:pt>
                <c:pt idx="82">
                  <c:v>61616</c:v>
                </c:pt>
                <c:pt idx="83">
                  <c:v>69698</c:v>
                </c:pt>
                <c:pt idx="84">
                  <c:v>68886</c:v>
                </c:pt>
                <c:pt idx="85">
                  <c:v>71557</c:v>
                </c:pt>
                <c:pt idx="86">
                  <c:v>68633</c:v>
                </c:pt>
                <c:pt idx="87">
                  <c:v>72654</c:v>
                </c:pt>
                <c:pt idx="88">
                  <c:v>67723</c:v>
                </c:pt>
                <c:pt idx="89">
                  <c:v>68278</c:v>
                </c:pt>
                <c:pt idx="90">
                  <c:v>63458</c:v>
                </c:pt>
                <c:pt idx="91">
                  <c:v>70289</c:v>
                </c:pt>
                <c:pt idx="92">
                  <c:v>56060</c:v>
                </c:pt>
                <c:pt idx="93">
                  <c:v>54396</c:v>
                </c:pt>
                <c:pt idx="94">
                  <c:v>61018</c:v>
                </c:pt>
                <c:pt idx="95">
                  <c:v>68521</c:v>
                </c:pt>
                <c:pt idx="96">
                  <c:v>72873</c:v>
                </c:pt>
                <c:pt idx="97">
                  <c:v>50650</c:v>
                </c:pt>
                <c:pt idx="98">
                  <c:v>1952</c:v>
                </c:pt>
                <c:pt idx="99">
                  <c:v>1316</c:v>
                </c:pt>
                <c:pt idx="100">
                  <c:v>1709</c:v>
                </c:pt>
                <c:pt idx="101">
                  <c:v>1010</c:v>
                </c:pt>
                <c:pt idx="102">
                  <c:v>653</c:v>
                </c:pt>
                <c:pt idx="103">
                  <c:v>722</c:v>
                </c:pt>
                <c:pt idx="104">
                  <c:v>1119</c:v>
                </c:pt>
                <c:pt idx="105">
                  <c:v>2109</c:v>
                </c:pt>
                <c:pt idx="106">
                  <c:v>3706</c:v>
                </c:pt>
                <c:pt idx="107">
                  <c:v>503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68</c:v>
                </c:pt>
                <c:pt idx="1">
                  <c:v>7080</c:v>
                </c:pt>
                <c:pt idx="2">
                  <c:v>5360</c:v>
                </c:pt>
                <c:pt idx="3">
                  <c:v>3184</c:v>
                </c:pt>
                <c:pt idx="4">
                  <c:v>1772</c:v>
                </c:pt>
                <c:pt idx="5">
                  <c:v>9686</c:v>
                </c:pt>
                <c:pt idx="6">
                  <c:v>11864</c:v>
                </c:pt>
                <c:pt idx="7">
                  <c:v>13398</c:v>
                </c:pt>
                <c:pt idx="8">
                  <c:v>9822</c:v>
                </c:pt>
                <c:pt idx="9">
                  <c:v>9538</c:v>
                </c:pt>
                <c:pt idx="10">
                  <c:v>10216</c:v>
                </c:pt>
                <c:pt idx="11">
                  <c:v>9278</c:v>
                </c:pt>
                <c:pt idx="12">
                  <c:v>8436</c:v>
                </c:pt>
                <c:pt idx="13">
                  <c:v>8576</c:v>
                </c:pt>
                <c:pt idx="14">
                  <c:v>8312</c:v>
                </c:pt>
                <c:pt idx="15">
                  <c:v>10352</c:v>
                </c:pt>
                <c:pt idx="16">
                  <c:v>7440</c:v>
                </c:pt>
                <c:pt idx="17">
                  <c:v>1898</c:v>
                </c:pt>
                <c:pt idx="18">
                  <c:v>204</c:v>
                </c:pt>
                <c:pt idx="19">
                  <c:v>206</c:v>
                </c:pt>
                <c:pt idx="20">
                  <c:v>274</c:v>
                </c:pt>
                <c:pt idx="21">
                  <c:v>248</c:v>
                </c:pt>
                <c:pt idx="22">
                  <c:v>230</c:v>
                </c:pt>
                <c:pt idx="23">
                  <c:v>552</c:v>
                </c:pt>
                <c:pt idx="24">
                  <c:v>336</c:v>
                </c:pt>
                <c:pt idx="25">
                  <c:v>236</c:v>
                </c:pt>
                <c:pt idx="26">
                  <c:v>194</c:v>
                </c:pt>
                <c:pt idx="27">
                  <c:v>6204</c:v>
                </c:pt>
                <c:pt idx="28">
                  <c:v>13897</c:v>
                </c:pt>
                <c:pt idx="29">
                  <c:v>12236</c:v>
                </c:pt>
                <c:pt idx="30">
                  <c:v>12294</c:v>
                </c:pt>
                <c:pt idx="31">
                  <c:v>11046</c:v>
                </c:pt>
                <c:pt idx="32">
                  <c:v>10516</c:v>
                </c:pt>
                <c:pt idx="33">
                  <c:v>11488</c:v>
                </c:pt>
                <c:pt idx="34">
                  <c:v>13370</c:v>
                </c:pt>
                <c:pt idx="35">
                  <c:v>5534</c:v>
                </c:pt>
                <c:pt idx="36">
                  <c:v>492</c:v>
                </c:pt>
                <c:pt idx="37">
                  <c:v>190</c:v>
                </c:pt>
                <c:pt idx="38">
                  <c:v>4900</c:v>
                </c:pt>
                <c:pt idx="39">
                  <c:v>8236</c:v>
                </c:pt>
                <c:pt idx="40">
                  <c:v>12080</c:v>
                </c:pt>
                <c:pt idx="41">
                  <c:v>14438</c:v>
                </c:pt>
                <c:pt idx="42">
                  <c:v>12948</c:v>
                </c:pt>
                <c:pt idx="43">
                  <c:v>9554</c:v>
                </c:pt>
                <c:pt idx="44">
                  <c:v>760</c:v>
                </c:pt>
                <c:pt idx="45">
                  <c:v>80</c:v>
                </c:pt>
                <c:pt idx="46">
                  <c:v>244</c:v>
                </c:pt>
                <c:pt idx="47">
                  <c:v>286</c:v>
                </c:pt>
                <c:pt idx="48">
                  <c:v>358</c:v>
                </c:pt>
                <c:pt idx="49">
                  <c:v>10538</c:v>
                </c:pt>
                <c:pt idx="50">
                  <c:v>12990</c:v>
                </c:pt>
                <c:pt idx="51">
                  <c:v>6844</c:v>
                </c:pt>
                <c:pt idx="52">
                  <c:v>5094</c:v>
                </c:pt>
                <c:pt idx="53">
                  <c:v>19490</c:v>
                </c:pt>
                <c:pt idx="54">
                  <c:v>15392</c:v>
                </c:pt>
                <c:pt idx="55">
                  <c:v>9230</c:v>
                </c:pt>
                <c:pt idx="56">
                  <c:v>19870</c:v>
                </c:pt>
                <c:pt idx="57">
                  <c:v>33249</c:v>
                </c:pt>
                <c:pt idx="58">
                  <c:v>34096</c:v>
                </c:pt>
                <c:pt idx="59">
                  <c:v>48432</c:v>
                </c:pt>
                <c:pt idx="60">
                  <c:v>45761</c:v>
                </c:pt>
                <c:pt idx="61">
                  <c:v>42439</c:v>
                </c:pt>
                <c:pt idx="62">
                  <c:v>31863</c:v>
                </c:pt>
                <c:pt idx="63">
                  <c:v>18267</c:v>
                </c:pt>
                <c:pt idx="64">
                  <c:v>17488</c:v>
                </c:pt>
                <c:pt idx="65">
                  <c:v>18096</c:v>
                </c:pt>
                <c:pt idx="66">
                  <c:v>16468</c:v>
                </c:pt>
                <c:pt idx="67">
                  <c:v>14994</c:v>
                </c:pt>
                <c:pt idx="68">
                  <c:v>13724</c:v>
                </c:pt>
                <c:pt idx="69">
                  <c:v>15042</c:v>
                </c:pt>
                <c:pt idx="70">
                  <c:v>14436</c:v>
                </c:pt>
                <c:pt idx="71">
                  <c:v>13341</c:v>
                </c:pt>
                <c:pt idx="72">
                  <c:v>6848</c:v>
                </c:pt>
                <c:pt idx="73">
                  <c:v>242</c:v>
                </c:pt>
                <c:pt idx="74">
                  <c:v>138</c:v>
                </c:pt>
                <c:pt idx="75">
                  <c:v>292</c:v>
                </c:pt>
                <c:pt idx="76">
                  <c:v>628</c:v>
                </c:pt>
                <c:pt idx="77">
                  <c:v>188</c:v>
                </c:pt>
                <c:pt idx="78">
                  <c:v>318</c:v>
                </c:pt>
                <c:pt idx="79">
                  <c:v>8783</c:v>
                </c:pt>
                <c:pt idx="80">
                  <c:v>15730</c:v>
                </c:pt>
                <c:pt idx="81">
                  <c:v>16229</c:v>
                </c:pt>
                <c:pt idx="82">
                  <c:v>14848</c:v>
                </c:pt>
                <c:pt idx="83">
                  <c:v>4515</c:v>
                </c:pt>
                <c:pt idx="84">
                  <c:v>3685</c:v>
                </c:pt>
                <c:pt idx="85">
                  <c:v>114</c:v>
                </c:pt>
                <c:pt idx="86">
                  <c:v>2486</c:v>
                </c:pt>
                <c:pt idx="87">
                  <c:v>204</c:v>
                </c:pt>
                <c:pt idx="88">
                  <c:v>264</c:v>
                </c:pt>
                <c:pt idx="89">
                  <c:v>144</c:v>
                </c:pt>
                <c:pt idx="90">
                  <c:v>4492</c:v>
                </c:pt>
                <c:pt idx="91">
                  <c:v>9565</c:v>
                </c:pt>
                <c:pt idx="92">
                  <c:v>16675</c:v>
                </c:pt>
                <c:pt idx="93">
                  <c:v>19489</c:v>
                </c:pt>
                <c:pt idx="94">
                  <c:v>9241</c:v>
                </c:pt>
                <c:pt idx="95">
                  <c:v>177</c:v>
                </c:pt>
                <c:pt idx="96">
                  <c:v>192</c:v>
                </c:pt>
                <c:pt idx="97">
                  <c:v>23587</c:v>
                </c:pt>
                <c:pt idx="98">
                  <c:v>73824</c:v>
                </c:pt>
                <c:pt idx="99">
                  <c:v>71232</c:v>
                </c:pt>
                <c:pt idx="100">
                  <c:v>78714</c:v>
                </c:pt>
                <c:pt idx="101">
                  <c:v>80685</c:v>
                </c:pt>
                <c:pt idx="102">
                  <c:v>88038</c:v>
                </c:pt>
                <c:pt idx="103">
                  <c:v>74659</c:v>
                </c:pt>
                <c:pt idx="104">
                  <c:v>78201</c:v>
                </c:pt>
                <c:pt idx="105">
                  <c:v>71779</c:v>
                </c:pt>
                <c:pt idx="106">
                  <c:v>70991</c:v>
                </c:pt>
                <c:pt idx="107">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7044</c:v>
                </c:pt>
                <c:pt idx="1">
                  <c:v>45392</c:v>
                </c:pt>
                <c:pt idx="2">
                  <c:v>49152</c:v>
                </c:pt>
                <c:pt idx="3">
                  <c:v>49408</c:v>
                </c:pt>
                <c:pt idx="4">
                  <c:v>52032</c:v>
                </c:pt>
                <c:pt idx="5">
                  <c:v>51740</c:v>
                </c:pt>
                <c:pt idx="6">
                  <c:v>48220</c:v>
                </c:pt>
                <c:pt idx="7">
                  <c:v>49880</c:v>
                </c:pt>
                <c:pt idx="8">
                  <c:v>48840</c:v>
                </c:pt>
                <c:pt idx="9">
                  <c:v>45534</c:v>
                </c:pt>
                <c:pt idx="10">
                  <c:v>37284</c:v>
                </c:pt>
                <c:pt idx="11">
                  <c:v>32204</c:v>
                </c:pt>
                <c:pt idx="12">
                  <c:v>26880</c:v>
                </c:pt>
                <c:pt idx="13">
                  <c:v>23978</c:v>
                </c:pt>
                <c:pt idx="14">
                  <c:v>17984</c:v>
                </c:pt>
                <c:pt idx="15">
                  <c:v>38336</c:v>
                </c:pt>
                <c:pt idx="16">
                  <c:v>55360</c:v>
                </c:pt>
                <c:pt idx="17">
                  <c:v>62004</c:v>
                </c:pt>
                <c:pt idx="18">
                  <c:v>59160</c:v>
                </c:pt>
                <c:pt idx="19">
                  <c:v>58500</c:v>
                </c:pt>
                <c:pt idx="20">
                  <c:v>61444</c:v>
                </c:pt>
                <c:pt idx="21">
                  <c:v>65202</c:v>
                </c:pt>
                <c:pt idx="22">
                  <c:v>65224</c:v>
                </c:pt>
                <c:pt idx="23">
                  <c:v>63740</c:v>
                </c:pt>
                <c:pt idx="24">
                  <c:v>62261</c:v>
                </c:pt>
                <c:pt idx="25">
                  <c:v>65245</c:v>
                </c:pt>
                <c:pt idx="26">
                  <c:v>67432</c:v>
                </c:pt>
                <c:pt idx="27">
                  <c:v>67184</c:v>
                </c:pt>
                <c:pt idx="28">
                  <c:v>66436</c:v>
                </c:pt>
                <c:pt idx="29">
                  <c:v>65828</c:v>
                </c:pt>
                <c:pt idx="30">
                  <c:v>72134</c:v>
                </c:pt>
                <c:pt idx="31">
                  <c:v>68664</c:v>
                </c:pt>
                <c:pt idx="32">
                  <c:v>68064</c:v>
                </c:pt>
                <c:pt idx="33">
                  <c:v>66636</c:v>
                </c:pt>
                <c:pt idx="34">
                  <c:v>68864</c:v>
                </c:pt>
                <c:pt idx="35">
                  <c:v>67416</c:v>
                </c:pt>
                <c:pt idx="36">
                  <c:v>62848</c:v>
                </c:pt>
                <c:pt idx="37">
                  <c:v>63992</c:v>
                </c:pt>
                <c:pt idx="38">
                  <c:v>64188</c:v>
                </c:pt>
                <c:pt idx="39">
                  <c:v>67312</c:v>
                </c:pt>
                <c:pt idx="40">
                  <c:v>64256</c:v>
                </c:pt>
                <c:pt idx="41">
                  <c:v>63696</c:v>
                </c:pt>
                <c:pt idx="42">
                  <c:v>63812</c:v>
                </c:pt>
                <c:pt idx="43">
                  <c:v>66832</c:v>
                </c:pt>
                <c:pt idx="44">
                  <c:v>68404</c:v>
                </c:pt>
                <c:pt idx="45">
                  <c:v>64552</c:v>
                </c:pt>
                <c:pt idx="46">
                  <c:v>61536</c:v>
                </c:pt>
                <c:pt idx="47">
                  <c:v>67700</c:v>
                </c:pt>
                <c:pt idx="48">
                  <c:v>70100</c:v>
                </c:pt>
                <c:pt idx="49">
                  <c:v>68444</c:v>
                </c:pt>
                <c:pt idx="50">
                  <c:v>78316</c:v>
                </c:pt>
                <c:pt idx="51">
                  <c:v>59572</c:v>
                </c:pt>
                <c:pt idx="52">
                  <c:v>68840</c:v>
                </c:pt>
                <c:pt idx="53">
                  <c:v>65060</c:v>
                </c:pt>
                <c:pt idx="54">
                  <c:v>60848</c:v>
                </c:pt>
                <c:pt idx="55">
                  <c:v>62776</c:v>
                </c:pt>
                <c:pt idx="56">
                  <c:v>64468</c:v>
                </c:pt>
                <c:pt idx="57">
                  <c:v>65384</c:v>
                </c:pt>
                <c:pt idx="58">
                  <c:v>62048</c:v>
                </c:pt>
                <c:pt idx="59">
                  <c:v>65412</c:v>
                </c:pt>
                <c:pt idx="60">
                  <c:v>68872</c:v>
                </c:pt>
                <c:pt idx="61">
                  <c:v>69220</c:v>
                </c:pt>
                <c:pt idx="62">
                  <c:v>66128</c:v>
                </c:pt>
                <c:pt idx="63">
                  <c:v>62624</c:v>
                </c:pt>
                <c:pt idx="64">
                  <c:v>64564</c:v>
                </c:pt>
                <c:pt idx="65">
                  <c:v>67532</c:v>
                </c:pt>
                <c:pt idx="66">
                  <c:v>67361</c:v>
                </c:pt>
                <c:pt idx="67">
                  <c:v>67176</c:v>
                </c:pt>
                <c:pt idx="68">
                  <c:v>65180</c:v>
                </c:pt>
                <c:pt idx="69">
                  <c:v>69760</c:v>
                </c:pt>
                <c:pt idx="70">
                  <c:v>68018</c:v>
                </c:pt>
                <c:pt idx="71">
                  <c:v>62964</c:v>
                </c:pt>
                <c:pt idx="72">
                  <c:v>67404</c:v>
                </c:pt>
                <c:pt idx="73">
                  <c:v>65228</c:v>
                </c:pt>
                <c:pt idx="74">
                  <c:v>72592</c:v>
                </c:pt>
                <c:pt idx="75">
                  <c:v>67340</c:v>
                </c:pt>
                <c:pt idx="76">
                  <c:v>67928</c:v>
                </c:pt>
                <c:pt idx="77">
                  <c:v>68172</c:v>
                </c:pt>
                <c:pt idx="78">
                  <c:v>74280</c:v>
                </c:pt>
                <c:pt idx="79">
                  <c:v>68352</c:v>
                </c:pt>
                <c:pt idx="80">
                  <c:v>69562</c:v>
                </c:pt>
                <c:pt idx="81">
                  <c:v>68128</c:v>
                </c:pt>
                <c:pt idx="82">
                  <c:v>71876</c:v>
                </c:pt>
                <c:pt idx="83">
                  <c:v>69692</c:v>
                </c:pt>
                <c:pt idx="84">
                  <c:v>69208</c:v>
                </c:pt>
                <c:pt idx="85">
                  <c:v>68032</c:v>
                </c:pt>
                <c:pt idx="86">
                  <c:v>69252</c:v>
                </c:pt>
                <c:pt idx="87">
                  <c:v>70096</c:v>
                </c:pt>
                <c:pt idx="88">
                  <c:v>64880</c:v>
                </c:pt>
                <c:pt idx="89">
                  <c:v>66196</c:v>
                </c:pt>
                <c:pt idx="90">
                  <c:v>64136</c:v>
                </c:pt>
                <c:pt idx="91">
                  <c:v>71704</c:v>
                </c:pt>
                <c:pt idx="92">
                  <c:v>64883</c:v>
                </c:pt>
                <c:pt idx="93">
                  <c:v>66667</c:v>
                </c:pt>
                <c:pt idx="94">
                  <c:v>64948</c:v>
                </c:pt>
                <c:pt idx="95">
                  <c:v>67580</c:v>
                </c:pt>
                <c:pt idx="96">
                  <c:v>69185</c:v>
                </c:pt>
                <c:pt idx="97">
                  <c:v>65992</c:v>
                </c:pt>
                <c:pt idx="98">
                  <c:v>64704</c:v>
                </c:pt>
                <c:pt idx="99">
                  <c:v>59640</c:v>
                </c:pt>
                <c:pt idx="100">
                  <c:v>69044</c:v>
                </c:pt>
                <c:pt idx="101">
                  <c:v>56216</c:v>
                </c:pt>
                <c:pt idx="102">
                  <c:v>51424</c:v>
                </c:pt>
                <c:pt idx="103">
                  <c:v>44016</c:v>
                </c:pt>
                <c:pt idx="104">
                  <c:v>45084</c:v>
                </c:pt>
                <c:pt idx="105">
                  <c:v>40552</c:v>
                </c:pt>
                <c:pt idx="106">
                  <c:v>51828</c:v>
                </c:pt>
                <c:pt idx="107">
                  <c:v>7036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92</c:v>
                </c:pt>
                <c:pt idx="1">
                  <c:v>196</c:v>
                </c:pt>
                <c:pt idx="2">
                  <c:v>240</c:v>
                </c:pt>
                <c:pt idx="3">
                  <c:v>376</c:v>
                </c:pt>
                <c:pt idx="4">
                  <c:v>228</c:v>
                </c:pt>
                <c:pt idx="5">
                  <c:v>260</c:v>
                </c:pt>
                <c:pt idx="6">
                  <c:v>268</c:v>
                </c:pt>
                <c:pt idx="7">
                  <c:v>160</c:v>
                </c:pt>
                <c:pt idx="8">
                  <c:v>492</c:v>
                </c:pt>
                <c:pt idx="9">
                  <c:v>364</c:v>
                </c:pt>
                <c:pt idx="10">
                  <c:v>264</c:v>
                </c:pt>
                <c:pt idx="11">
                  <c:v>312</c:v>
                </c:pt>
                <c:pt idx="12">
                  <c:v>232</c:v>
                </c:pt>
                <c:pt idx="13">
                  <c:v>164</c:v>
                </c:pt>
                <c:pt idx="14">
                  <c:v>16144</c:v>
                </c:pt>
                <c:pt idx="15">
                  <c:v>17848</c:v>
                </c:pt>
                <c:pt idx="16">
                  <c:v>8392</c:v>
                </c:pt>
                <c:pt idx="17">
                  <c:v>6620</c:v>
                </c:pt>
                <c:pt idx="18">
                  <c:v>4692</c:v>
                </c:pt>
                <c:pt idx="19">
                  <c:v>3160</c:v>
                </c:pt>
                <c:pt idx="20">
                  <c:v>2424</c:v>
                </c:pt>
                <c:pt idx="21">
                  <c:v>1748</c:v>
                </c:pt>
                <c:pt idx="22">
                  <c:v>1992</c:v>
                </c:pt>
                <c:pt idx="23">
                  <c:v>996</c:v>
                </c:pt>
                <c:pt idx="24">
                  <c:v>888</c:v>
                </c:pt>
                <c:pt idx="25">
                  <c:v>648</c:v>
                </c:pt>
                <c:pt idx="26">
                  <c:v>580</c:v>
                </c:pt>
                <c:pt idx="27">
                  <c:v>356</c:v>
                </c:pt>
                <c:pt idx="28">
                  <c:v>476</c:v>
                </c:pt>
                <c:pt idx="29">
                  <c:v>500</c:v>
                </c:pt>
                <c:pt idx="30">
                  <c:v>484</c:v>
                </c:pt>
                <c:pt idx="31">
                  <c:v>284</c:v>
                </c:pt>
                <c:pt idx="32">
                  <c:v>440</c:v>
                </c:pt>
                <c:pt idx="33">
                  <c:v>208</c:v>
                </c:pt>
                <c:pt idx="34">
                  <c:v>264</c:v>
                </c:pt>
                <c:pt idx="35">
                  <c:v>240</c:v>
                </c:pt>
                <c:pt idx="36">
                  <c:v>324</c:v>
                </c:pt>
                <c:pt idx="37">
                  <c:v>276</c:v>
                </c:pt>
                <c:pt idx="38">
                  <c:v>648</c:v>
                </c:pt>
                <c:pt idx="39">
                  <c:v>856</c:v>
                </c:pt>
                <c:pt idx="40">
                  <c:v>444</c:v>
                </c:pt>
                <c:pt idx="41">
                  <c:v>780</c:v>
                </c:pt>
                <c:pt idx="42">
                  <c:v>836</c:v>
                </c:pt>
                <c:pt idx="43">
                  <c:v>800</c:v>
                </c:pt>
                <c:pt idx="44">
                  <c:v>876</c:v>
                </c:pt>
                <c:pt idx="45">
                  <c:v>916</c:v>
                </c:pt>
                <c:pt idx="46">
                  <c:v>840</c:v>
                </c:pt>
                <c:pt idx="47">
                  <c:v>880</c:v>
                </c:pt>
                <c:pt idx="48">
                  <c:v>1068</c:v>
                </c:pt>
                <c:pt idx="49">
                  <c:v>868</c:v>
                </c:pt>
                <c:pt idx="50">
                  <c:v>1004</c:v>
                </c:pt>
                <c:pt idx="51">
                  <c:v>688</c:v>
                </c:pt>
                <c:pt idx="52">
                  <c:v>848</c:v>
                </c:pt>
                <c:pt idx="53">
                  <c:v>864</c:v>
                </c:pt>
                <c:pt idx="54">
                  <c:v>864</c:v>
                </c:pt>
                <c:pt idx="55">
                  <c:v>864</c:v>
                </c:pt>
                <c:pt idx="56">
                  <c:v>808</c:v>
                </c:pt>
                <c:pt idx="57">
                  <c:v>908</c:v>
                </c:pt>
                <c:pt idx="58">
                  <c:v>728</c:v>
                </c:pt>
                <c:pt idx="59">
                  <c:v>1076</c:v>
                </c:pt>
                <c:pt idx="60">
                  <c:v>748</c:v>
                </c:pt>
                <c:pt idx="61">
                  <c:v>784</c:v>
                </c:pt>
                <c:pt idx="62">
                  <c:v>908</c:v>
                </c:pt>
                <c:pt idx="63">
                  <c:v>780</c:v>
                </c:pt>
                <c:pt idx="64">
                  <c:v>940</c:v>
                </c:pt>
                <c:pt idx="65">
                  <c:v>848</c:v>
                </c:pt>
                <c:pt idx="66">
                  <c:v>772</c:v>
                </c:pt>
                <c:pt idx="67">
                  <c:v>804</c:v>
                </c:pt>
                <c:pt idx="68">
                  <c:v>732</c:v>
                </c:pt>
                <c:pt idx="69">
                  <c:v>796</c:v>
                </c:pt>
                <c:pt idx="70">
                  <c:v>804</c:v>
                </c:pt>
                <c:pt idx="71">
                  <c:v>644</c:v>
                </c:pt>
                <c:pt idx="72">
                  <c:v>648</c:v>
                </c:pt>
                <c:pt idx="73">
                  <c:v>632</c:v>
                </c:pt>
                <c:pt idx="74">
                  <c:v>636</c:v>
                </c:pt>
                <c:pt idx="75">
                  <c:v>1008</c:v>
                </c:pt>
                <c:pt idx="76">
                  <c:v>708</c:v>
                </c:pt>
                <c:pt idx="77">
                  <c:v>776</c:v>
                </c:pt>
                <c:pt idx="78">
                  <c:v>804</c:v>
                </c:pt>
                <c:pt idx="79">
                  <c:v>856</c:v>
                </c:pt>
                <c:pt idx="80">
                  <c:v>540</c:v>
                </c:pt>
                <c:pt idx="81">
                  <c:v>668</c:v>
                </c:pt>
                <c:pt idx="82">
                  <c:v>728</c:v>
                </c:pt>
                <c:pt idx="83">
                  <c:v>588</c:v>
                </c:pt>
                <c:pt idx="84">
                  <c:v>760</c:v>
                </c:pt>
                <c:pt idx="85">
                  <c:v>892</c:v>
                </c:pt>
                <c:pt idx="86">
                  <c:v>508</c:v>
                </c:pt>
                <c:pt idx="87">
                  <c:v>760</c:v>
                </c:pt>
                <c:pt idx="88">
                  <c:v>616</c:v>
                </c:pt>
                <c:pt idx="89">
                  <c:v>696</c:v>
                </c:pt>
                <c:pt idx="90">
                  <c:v>629</c:v>
                </c:pt>
                <c:pt idx="91">
                  <c:v>672</c:v>
                </c:pt>
                <c:pt idx="92">
                  <c:v>668</c:v>
                </c:pt>
                <c:pt idx="93">
                  <c:v>788</c:v>
                </c:pt>
                <c:pt idx="94">
                  <c:v>464</c:v>
                </c:pt>
                <c:pt idx="95">
                  <c:v>672</c:v>
                </c:pt>
                <c:pt idx="96">
                  <c:v>624</c:v>
                </c:pt>
                <c:pt idx="97">
                  <c:v>500</c:v>
                </c:pt>
                <c:pt idx="98">
                  <c:v>604</c:v>
                </c:pt>
                <c:pt idx="99">
                  <c:v>500</c:v>
                </c:pt>
                <c:pt idx="100">
                  <c:v>700</c:v>
                </c:pt>
                <c:pt idx="101">
                  <c:v>18164</c:v>
                </c:pt>
                <c:pt idx="102">
                  <c:v>26352</c:v>
                </c:pt>
                <c:pt idx="103">
                  <c:v>15816</c:v>
                </c:pt>
                <c:pt idx="104">
                  <c:v>22048</c:v>
                </c:pt>
                <c:pt idx="105">
                  <c:v>14636</c:v>
                </c:pt>
                <c:pt idx="106">
                  <c:v>6964</c:v>
                </c:pt>
                <c:pt idx="107">
                  <c:v>3156</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0952</c:v>
                </c:pt>
                <c:pt idx="1">
                  <c:v>74944</c:v>
                </c:pt>
                <c:pt idx="2">
                  <c:v>76800</c:v>
                </c:pt>
                <c:pt idx="3">
                  <c:v>75533</c:v>
                </c:pt>
                <c:pt idx="4">
                  <c:v>79108</c:v>
                </c:pt>
                <c:pt idx="5">
                  <c:v>73192</c:v>
                </c:pt>
                <c:pt idx="6">
                  <c:v>67752</c:v>
                </c:pt>
                <c:pt idx="7">
                  <c:v>69044</c:v>
                </c:pt>
                <c:pt idx="8">
                  <c:v>74020</c:v>
                </c:pt>
                <c:pt idx="9">
                  <c:v>68652</c:v>
                </c:pt>
                <c:pt idx="10">
                  <c:v>68348</c:v>
                </c:pt>
                <c:pt idx="11">
                  <c:v>68692</c:v>
                </c:pt>
                <c:pt idx="12">
                  <c:v>66058</c:v>
                </c:pt>
                <c:pt idx="13">
                  <c:v>73012</c:v>
                </c:pt>
                <c:pt idx="14">
                  <c:v>64088</c:v>
                </c:pt>
                <c:pt idx="15">
                  <c:v>66136</c:v>
                </c:pt>
                <c:pt idx="16">
                  <c:v>65744</c:v>
                </c:pt>
                <c:pt idx="17">
                  <c:v>74994</c:v>
                </c:pt>
                <c:pt idx="18">
                  <c:v>71112</c:v>
                </c:pt>
                <c:pt idx="19">
                  <c:v>69476</c:v>
                </c:pt>
                <c:pt idx="20">
                  <c:v>75600</c:v>
                </c:pt>
                <c:pt idx="21">
                  <c:v>78572</c:v>
                </c:pt>
                <c:pt idx="22">
                  <c:v>78108</c:v>
                </c:pt>
                <c:pt idx="23">
                  <c:v>75656</c:v>
                </c:pt>
                <c:pt idx="24">
                  <c:v>74253</c:v>
                </c:pt>
                <c:pt idx="25">
                  <c:v>76102</c:v>
                </c:pt>
                <c:pt idx="26">
                  <c:v>78656</c:v>
                </c:pt>
                <c:pt idx="27">
                  <c:v>71284</c:v>
                </c:pt>
                <c:pt idx="28">
                  <c:v>69678</c:v>
                </c:pt>
                <c:pt idx="29">
                  <c:v>67276</c:v>
                </c:pt>
                <c:pt idx="30">
                  <c:v>72632</c:v>
                </c:pt>
                <c:pt idx="31">
                  <c:v>68788</c:v>
                </c:pt>
                <c:pt idx="32">
                  <c:v>69432</c:v>
                </c:pt>
                <c:pt idx="33">
                  <c:v>65708</c:v>
                </c:pt>
                <c:pt idx="34">
                  <c:v>65246</c:v>
                </c:pt>
                <c:pt idx="35">
                  <c:v>69960</c:v>
                </c:pt>
                <c:pt idx="36">
                  <c:v>71288</c:v>
                </c:pt>
                <c:pt idx="37">
                  <c:v>69872</c:v>
                </c:pt>
                <c:pt idx="38">
                  <c:v>66880</c:v>
                </c:pt>
                <c:pt idx="39">
                  <c:v>67056</c:v>
                </c:pt>
                <c:pt idx="40">
                  <c:v>57280</c:v>
                </c:pt>
                <c:pt idx="41">
                  <c:v>56612</c:v>
                </c:pt>
                <c:pt idx="42">
                  <c:v>57004</c:v>
                </c:pt>
                <c:pt idx="43">
                  <c:v>61560</c:v>
                </c:pt>
                <c:pt idx="44">
                  <c:v>68164</c:v>
                </c:pt>
                <c:pt idx="45">
                  <c:v>68596</c:v>
                </c:pt>
                <c:pt idx="46">
                  <c:v>63956</c:v>
                </c:pt>
                <c:pt idx="47">
                  <c:v>66326</c:v>
                </c:pt>
                <c:pt idx="48">
                  <c:v>69996</c:v>
                </c:pt>
                <c:pt idx="49">
                  <c:v>68688</c:v>
                </c:pt>
                <c:pt idx="50">
                  <c:v>73080</c:v>
                </c:pt>
                <c:pt idx="51">
                  <c:v>51686</c:v>
                </c:pt>
                <c:pt idx="52">
                  <c:v>61077</c:v>
                </c:pt>
                <c:pt idx="53">
                  <c:v>61244</c:v>
                </c:pt>
                <c:pt idx="54">
                  <c:v>67110</c:v>
                </c:pt>
                <c:pt idx="55">
                  <c:v>73532</c:v>
                </c:pt>
                <c:pt idx="56">
                  <c:v>64790</c:v>
                </c:pt>
                <c:pt idx="57">
                  <c:v>52337</c:v>
                </c:pt>
                <c:pt idx="58">
                  <c:v>45317</c:v>
                </c:pt>
                <c:pt idx="59">
                  <c:v>42597</c:v>
                </c:pt>
                <c:pt idx="60">
                  <c:v>41163</c:v>
                </c:pt>
                <c:pt idx="61">
                  <c:v>41867</c:v>
                </c:pt>
                <c:pt idx="62">
                  <c:v>48164</c:v>
                </c:pt>
                <c:pt idx="63">
                  <c:v>59661</c:v>
                </c:pt>
                <c:pt idx="64">
                  <c:v>59362</c:v>
                </c:pt>
                <c:pt idx="65">
                  <c:v>60412</c:v>
                </c:pt>
                <c:pt idx="66">
                  <c:v>59039</c:v>
                </c:pt>
                <c:pt idx="67">
                  <c:v>57405</c:v>
                </c:pt>
                <c:pt idx="68">
                  <c:v>57681</c:v>
                </c:pt>
                <c:pt idx="69">
                  <c:v>60189</c:v>
                </c:pt>
                <c:pt idx="70">
                  <c:v>59376</c:v>
                </c:pt>
                <c:pt idx="71">
                  <c:v>56686</c:v>
                </c:pt>
                <c:pt idx="72">
                  <c:v>67369</c:v>
                </c:pt>
                <c:pt idx="73">
                  <c:v>71312</c:v>
                </c:pt>
                <c:pt idx="74">
                  <c:v>75749</c:v>
                </c:pt>
                <c:pt idx="75">
                  <c:v>72187</c:v>
                </c:pt>
                <c:pt idx="76">
                  <c:v>70428</c:v>
                </c:pt>
                <c:pt idx="77">
                  <c:v>70854</c:v>
                </c:pt>
                <c:pt idx="78">
                  <c:v>78307</c:v>
                </c:pt>
                <c:pt idx="79">
                  <c:v>63764</c:v>
                </c:pt>
                <c:pt idx="80">
                  <c:v>60201</c:v>
                </c:pt>
                <c:pt idx="81">
                  <c:v>57002</c:v>
                </c:pt>
                <c:pt idx="82">
                  <c:v>61604</c:v>
                </c:pt>
                <c:pt idx="83">
                  <c:v>69678</c:v>
                </c:pt>
                <c:pt idx="84">
                  <c:v>68878</c:v>
                </c:pt>
                <c:pt idx="85">
                  <c:v>71529</c:v>
                </c:pt>
                <c:pt idx="86">
                  <c:v>68625</c:v>
                </c:pt>
                <c:pt idx="87">
                  <c:v>72610</c:v>
                </c:pt>
                <c:pt idx="88">
                  <c:v>67703</c:v>
                </c:pt>
                <c:pt idx="89">
                  <c:v>68266</c:v>
                </c:pt>
                <c:pt idx="90">
                  <c:v>63450</c:v>
                </c:pt>
                <c:pt idx="91">
                  <c:v>70285</c:v>
                </c:pt>
                <c:pt idx="92">
                  <c:v>56060</c:v>
                </c:pt>
                <c:pt idx="93">
                  <c:v>54380</c:v>
                </c:pt>
                <c:pt idx="94">
                  <c:v>61014</c:v>
                </c:pt>
                <c:pt idx="95">
                  <c:v>68517</c:v>
                </c:pt>
                <c:pt idx="96">
                  <c:v>72869</c:v>
                </c:pt>
                <c:pt idx="97">
                  <c:v>50626</c:v>
                </c:pt>
                <c:pt idx="98">
                  <c:v>1844</c:v>
                </c:pt>
                <c:pt idx="99">
                  <c:v>1312</c:v>
                </c:pt>
                <c:pt idx="100">
                  <c:v>1609</c:v>
                </c:pt>
                <c:pt idx="101">
                  <c:v>978</c:v>
                </c:pt>
                <c:pt idx="102">
                  <c:v>645</c:v>
                </c:pt>
                <c:pt idx="103">
                  <c:v>698</c:v>
                </c:pt>
                <c:pt idx="104">
                  <c:v>1083</c:v>
                </c:pt>
                <c:pt idx="105">
                  <c:v>2025</c:v>
                </c:pt>
                <c:pt idx="106">
                  <c:v>3294</c:v>
                </c:pt>
                <c:pt idx="107">
                  <c:v>428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44</c:v>
                </c:pt>
                <c:pt idx="1">
                  <c:v>7080</c:v>
                </c:pt>
                <c:pt idx="2">
                  <c:v>5360</c:v>
                </c:pt>
                <c:pt idx="3">
                  <c:v>3180</c:v>
                </c:pt>
                <c:pt idx="4">
                  <c:v>1772</c:v>
                </c:pt>
                <c:pt idx="5">
                  <c:v>9654</c:v>
                </c:pt>
                <c:pt idx="6">
                  <c:v>11772</c:v>
                </c:pt>
                <c:pt idx="7">
                  <c:v>13294</c:v>
                </c:pt>
                <c:pt idx="8">
                  <c:v>9778</c:v>
                </c:pt>
                <c:pt idx="9">
                  <c:v>9470</c:v>
                </c:pt>
                <c:pt idx="10">
                  <c:v>10120</c:v>
                </c:pt>
                <c:pt idx="11">
                  <c:v>9198</c:v>
                </c:pt>
                <c:pt idx="12">
                  <c:v>8348</c:v>
                </c:pt>
                <c:pt idx="13">
                  <c:v>8484</c:v>
                </c:pt>
                <c:pt idx="14">
                  <c:v>8248</c:v>
                </c:pt>
                <c:pt idx="15">
                  <c:v>10272</c:v>
                </c:pt>
                <c:pt idx="16">
                  <c:v>7372</c:v>
                </c:pt>
                <c:pt idx="17">
                  <c:v>1790</c:v>
                </c:pt>
                <c:pt idx="18">
                  <c:v>120</c:v>
                </c:pt>
                <c:pt idx="19">
                  <c:v>134</c:v>
                </c:pt>
                <c:pt idx="20">
                  <c:v>142</c:v>
                </c:pt>
                <c:pt idx="21">
                  <c:v>180</c:v>
                </c:pt>
                <c:pt idx="22">
                  <c:v>98</c:v>
                </c:pt>
                <c:pt idx="23">
                  <c:v>172</c:v>
                </c:pt>
                <c:pt idx="24">
                  <c:v>264</c:v>
                </c:pt>
                <c:pt idx="25">
                  <c:v>116</c:v>
                </c:pt>
                <c:pt idx="26">
                  <c:v>34</c:v>
                </c:pt>
                <c:pt idx="27">
                  <c:v>6128</c:v>
                </c:pt>
                <c:pt idx="28">
                  <c:v>13801</c:v>
                </c:pt>
                <c:pt idx="29">
                  <c:v>12144</c:v>
                </c:pt>
                <c:pt idx="30">
                  <c:v>12238</c:v>
                </c:pt>
                <c:pt idx="31">
                  <c:v>10950</c:v>
                </c:pt>
                <c:pt idx="32">
                  <c:v>10412</c:v>
                </c:pt>
                <c:pt idx="33">
                  <c:v>11448</c:v>
                </c:pt>
                <c:pt idx="34">
                  <c:v>13322</c:v>
                </c:pt>
                <c:pt idx="35">
                  <c:v>5490</c:v>
                </c:pt>
                <c:pt idx="36">
                  <c:v>388</c:v>
                </c:pt>
                <c:pt idx="37">
                  <c:v>114</c:v>
                </c:pt>
                <c:pt idx="38">
                  <c:v>4820</c:v>
                </c:pt>
                <c:pt idx="39">
                  <c:v>8124</c:v>
                </c:pt>
                <c:pt idx="40">
                  <c:v>11984</c:v>
                </c:pt>
                <c:pt idx="41">
                  <c:v>14358</c:v>
                </c:pt>
                <c:pt idx="42">
                  <c:v>12856</c:v>
                </c:pt>
                <c:pt idx="43">
                  <c:v>9542</c:v>
                </c:pt>
                <c:pt idx="44">
                  <c:v>760</c:v>
                </c:pt>
                <c:pt idx="45">
                  <c:v>52</c:v>
                </c:pt>
                <c:pt idx="46">
                  <c:v>244</c:v>
                </c:pt>
                <c:pt idx="47">
                  <c:v>286</c:v>
                </c:pt>
                <c:pt idx="48">
                  <c:v>358</c:v>
                </c:pt>
                <c:pt idx="49">
                  <c:v>9742</c:v>
                </c:pt>
                <c:pt idx="50">
                  <c:v>11346</c:v>
                </c:pt>
                <c:pt idx="51">
                  <c:v>5636</c:v>
                </c:pt>
                <c:pt idx="52">
                  <c:v>4046</c:v>
                </c:pt>
                <c:pt idx="53">
                  <c:v>14278</c:v>
                </c:pt>
                <c:pt idx="54">
                  <c:v>10192</c:v>
                </c:pt>
                <c:pt idx="55">
                  <c:v>4922</c:v>
                </c:pt>
                <c:pt idx="56">
                  <c:v>17790</c:v>
                </c:pt>
                <c:pt idx="57">
                  <c:v>31969</c:v>
                </c:pt>
                <c:pt idx="58">
                  <c:v>33400</c:v>
                </c:pt>
                <c:pt idx="59">
                  <c:v>47776</c:v>
                </c:pt>
                <c:pt idx="60">
                  <c:v>45265</c:v>
                </c:pt>
                <c:pt idx="61">
                  <c:v>42307</c:v>
                </c:pt>
                <c:pt idx="62">
                  <c:v>31719</c:v>
                </c:pt>
                <c:pt idx="63">
                  <c:v>18059</c:v>
                </c:pt>
                <c:pt idx="64">
                  <c:v>17388</c:v>
                </c:pt>
                <c:pt idx="65">
                  <c:v>18084</c:v>
                </c:pt>
                <c:pt idx="66">
                  <c:v>16440</c:v>
                </c:pt>
                <c:pt idx="67">
                  <c:v>14974</c:v>
                </c:pt>
                <c:pt idx="68">
                  <c:v>13672</c:v>
                </c:pt>
                <c:pt idx="69">
                  <c:v>15030</c:v>
                </c:pt>
                <c:pt idx="70">
                  <c:v>14432</c:v>
                </c:pt>
                <c:pt idx="71">
                  <c:v>13321</c:v>
                </c:pt>
                <c:pt idx="72">
                  <c:v>6760</c:v>
                </c:pt>
                <c:pt idx="73">
                  <c:v>242</c:v>
                </c:pt>
                <c:pt idx="74">
                  <c:v>138</c:v>
                </c:pt>
                <c:pt idx="75">
                  <c:v>232</c:v>
                </c:pt>
                <c:pt idx="76">
                  <c:v>620</c:v>
                </c:pt>
                <c:pt idx="77">
                  <c:v>176</c:v>
                </c:pt>
                <c:pt idx="78">
                  <c:v>270</c:v>
                </c:pt>
                <c:pt idx="79">
                  <c:v>8723</c:v>
                </c:pt>
                <c:pt idx="80">
                  <c:v>15670</c:v>
                </c:pt>
                <c:pt idx="81">
                  <c:v>16121</c:v>
                </c:pt>
                <c:pt idx="82">
                  <c:v>14844</c:v>
                </c:pt>
                <c:pt idx="83">
                  <c:v>4507</c:v>
                </c:pt>
                <c:pt idx="84">
                  <c:v>3685</c:v>
                </c:pt>
                <c:pt idx="85">
                  <c:v>114</c:v>
                </c:pt>
                <c:pt idx="86">
                  <c:v>2486</c:v>
                </c:pt>
                <c:pt idx="87">
                  <c:v>204</c:v>
                </c:pt>
                <c:pt idx="88">
                  <c:v>264</c:v>
                </c:pt>
                <c:pt idx="89">
                  <c:v>144</c:v>
                </c:pt>
                <c:pt idx="90">
                  <c:v>4476</c:v>
                </c:pt>
                <c:pt idx="91">
                  <c:v>9565</c:v>
                </c:pt>
                <c:pt idx="92">
                  <c:v>16667</c:v>
                </c:pt>
                <c:pt idx="93">
                  <c:v>19485</c:v>
                </c:pt>
                <c:pt idx="94">
                  <c:v>9229</c:v>
                </c:pt>
                <c:pt idx="95">
                  <c:v>177</c:v>
                </c:pt>
                <c:pt idx="96">
                  <c:v>184</c:v>
                </c:pt>
                <c:pt idx="97">
                  <c:v>23587</c:v>
                </c:pt>
                <c:pt idx="98">
                  <c:v>73824</c:v>
                </c:pt>
                <c:pt idx="99">
                  <c:v>71232</c:v>
                </c:pt>
                <c:pt idx="100">
                  <c:v>78714</c:v>
                </c:pt>
                <c:pt idx="101">
                  <c:v>80577</c:v>
                </c:pt>
                <c:pt idx="102">
                  <c:v>88030</c:v>
                </c:pt>
                <c:pt idx="103">
                  <c:v>74659</c:v>
                </c:pt>
                <c:pt idx="104">
                  <c:v>78201</c:v>
                </c:pt>
                <c:pt idx="105">
                  <c:v>71779</c:v>
                </c:pt>
                <c:pt idx="106">
                  <c:v>70983</c:v>
                </c:pt>
                <c:pt idx="107">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12</c:f>
              <c:numCache>
                <c:formatCode>General</c:formatCode>
                <c:ptCount val="311"/>
                <c:pt idx="0">
                  <c:v>0</c:v>
                </c:pt>
                <c:pt idx="1">
                  <c:v>0.55000000000000004</c:v>
                </c:pt>
                <c:pt idx="2">
                  <c:v>0.05</c:v>
                </c:pt>
                <c:pt idx="3">
                  <c:v>0.1</c:v>
                </c:pt>
                <c:pt idx="4">
                  <c:v>0.05</c:v>
                </c:pt>
                <c:pt idx="5">
                  <c:v>0.1</c:v>
                </c:pt>
                <c:pt idx="6">
                  <c:v>0.05</c:v>
                </c:pt>
                <c:pt idx="7">
                  <c:v>0.05</c:v>
                </c:pt>
                <c:pt idx="8">
                  <c:v>0.05</c:v>
                </c:pt>
                <c:pt idx="9">
                  <c:v>0.05</c:v>
                </c:pt>
                <c:pt idx="10">
                  <c:v>0.05</c:v>
                </c:pt>
                <c:pt idx="11">
                  <c:v>0.1</c:v>
                </c:pt>
                <c:pt idx="12">
                  <c:v>0.05</c:v>
                </c:pt>
                <c:pt idx="13">
                  <c:v>0.1</c:v>
                </c:pt>
                <c:pt idx="14">
                  <c:v>0.25</c:v>
                </c:pt>
                <c:pt idx="15">
                  <c:v>0.1</c:v>
                </c:pt>
                <c:pt idx="16">
                  <c:v>0.05</c:v>
                </c:pt>
                <c:pt idx="17">
                  <c:v>0.1</c:v>
                </c:pt>
                <c:pt idx="18">
                  <c:v>0.1</c:v>
                </c:pt>
                <c:pt idx="19">
                  <c:v>0</c:v>
                </c:pt>
                <c:pt idx="20">
                  <c:v>0.1</c:v>
                </c:pt>
                <c:pt idx="21">
                  <c:v>0</c:v>
                </c:pt>
                <c:pt idx="22">
                  <c:v>0.1</c:v>
                </c:pt>
                <c:pt idx="23">
                  <c:v>0.05</c:v>
                </c:pt>
                <c:pt idx="24">
                  <c:v>0.05</c:v>
                </c:pt>
                <c:pt idx="25">
                  <c:v>0.1</c:v>
                </c:pt>
                <c:pt idx="26">
                  <c:v>0.15</c:v>
                </c:pt>
                <c:pt idx="27">
                  <c:v>0.1</c:v>
                </c:pt>
                <c:pt idx="28">
                  <c:v>0.05</c:v>
                </c:pt>
                <c:pt idx="29">
                  <c:v>0.1</c:v>
                </c:pt>
                <c:pt idx="30">
                  <c:v>0.1</c:v>
                </c:pt>
                <c:pt idx="31">
                  <c:v>0</c:v>
                </c:pt>
                <c:pt idx="32">
                  <c:v>0.1</c:v>
                </c:pt>
                <c:pt idx="33">
                  <c:v>0.1</c:v>
                </c:pt>
                <c:pt idx="34">
                  <c:v>0.05</c:v>
                </c:pt>
                <c:pt idx="35">
                  <c:v>0.4</c:v>
                </c:pt>
                <c:pt idx="36">
                  <c:v>0</c:v>
                </c:pt>
                <c:pt idx="37">
                  <c:v>0.1</c:v>
                </c:pt>
                <c:pt idx="38">
                  <c:v>0.1</c:v>
                </c:pt>
                <c:pt idx="39">
                  <c:v>0.2</c:v>
                </c:pt>
                <c:pt idx="40">
                  <c:v>0.05</c:v>
                </c:pt>
                <c:pt idx="41">
                  <c:v>0.1</c:v>
                </c:pt>
                <c:pt idx="42">
                  <c:v>0</c:v>
                </c:pt>
                <c:pt idx="43">
                  <c:v>0</c:v>
                </c:pt>
                <c:pt idx="44">
                  <c:v>0.05</c:v>
                </c:pt>
                <c:pt idx="45">
                  <c:v>0.3</c:v>
                </c:pt>
                <c:pt idx="46">
                  <c:v>0.1</c:v>
                </c:pt>
                <c:pt idx="47">
                  <c:v>0.1</c:v>
                </c:pt>
                <c:pt idx="48">
                  <c:v>0</c:v>
                </c:pt>
                <c:pt idx="49">
                  <c:v>0</c:v>
                </c:pt>
                <c:pt idx="50">
                  <c:v>0.05</c:v>
                </c:pt>
                <c:pt idx="51">
                  <c:v>0.1</c:v>
                </c:pt>
                <c:pt idx="52">
                  <c:v>0.05</c:v>
                </c:pt>
                <c:pt idx="53">
                  <c:v>0</c:v>
                </c:pt>
                <c:pt idx="54">
                  <c:v>0</c:v>
                </c:pt>
                <c:pt idx="55">
                  <c:v>0.15</c:v>
                </c:pt>
                <c:pt idx="56">
                  <c:v>0.3</c:v>
                </c:pt>
                <c:pt idx="57">
                  <c:v>0.05</c:v>
                </c:pt>
                <c:pt idx="58">
                  <c:v>0.1</c:v>
                </c:pt>
                <c:pt idx="59">
                  <c:v>0</c:v>
                </c:pt>
                <c:pt idx="60">
                  <c:v>0</c:v>
                </c:pt>
                <c:pt idx="61">
                  <c:v>0.05</c:v>
                </c:pt>
                <c:pt idx="62">
                  <c:v>0.2</c:v>
                </c:pt>
                <c:pt idx="63">
                  <c:v>0.05</c:v>
                </c:pt>
                <c:pt idx="64">
                  <c:v>0</c:v>
                </c:pt>
                <c:pt idx="65">
                  <c:v>0</c:v>
                </c:pt>
                <c:pt idx="66">
                  <c:v>0.1</c:v>
                </c:pt>
                <c:pt idx="67">
                  <c:v>0</c:v>
                </c:pt>
                <c:pt idx="68">
                  <c:v>0</c:v>
                </c:pt>
                <c:pt idx="69">
                  <c:v>0.1</c:v>
                </c:pt>
                <c:pt idx="70">
                  <c:v>0</c:v>
                </c:pt>
                <c:pt idx="71">
                  <c:v>0</c:v>
                </c:pt>
                <c:pt idx="72">
                  <c:v>0</c:v>
                </c:pt>
                <c:pt idx="73">
                  <c:v>0</c:v>
                </c:pt>
                <c:pt idx="74">
                  <c:v>0.1</c:v>
                </c:pt>
                <c:pt idx="75">
                  <c:v>0</c:v>
                </c:pt>
                <c:pt idx="76">
                  <c:v>0.15</c:v>
                </c:pt>
                <c:pt idx="77">
                  <c:v>0.1</c:v>
                </c:pt>
                <c:pt idx="78">
                  <c:v>0</c:v>
                </c:pt>
                <c:pt idx="79">
                  <c:v>0</c:v>
                </c:pt>
                <c:pt idx="80">
                  <c:v>0.15</c:v>
                </c:pt>
                <c:pt idx="81">
                  <c:v>0.1</c:v>
                </c:pt>
                <c:pt idx="82">
                  <c:v>0.05</c:v>
                </c:pt>
                <c:pt idx="83">
                  <c:v>0.55000000000000004</c:v>
                </c:pt>
                <c:pt idx="84">
                  <c:v>0</c:v>
                </c:pt>
                <c:pt idx="85">
                  <c:v>0</c:v>
                </c:pt>
                <c:pt idx="86">
                  <c:v>0.5</c:v>
                </c:pt>
                <c:pt idx="87">
                  <c:v>0.55000000000000004</c:v>
                </c:pt>
                <c:pt idx="88">
                  <c:v>0.65</c:v>
                </c:pt>
                <c:pt idx="89">
                  <c:v>0.60000000000000009</c:v>
                </c:pt>
                <c:pt idx="90">
                  <c:v>0.5</c:v>
                </c:pt>
                <c:pt idx="91">
                  <c:v>0</c:v>
                </c:pt>
                <c:pt idx="92">
                  <c:v>0</c:v>
                </c:pt>
                <c:pt idx="93">
                  <c:v>0.55000000000000004</c:v>
                </c:pt>
                <c:pt idx="94">
                  <c:v>0.65</c:v>
                </c:pt>
                <c:pt idx="95">
                  <c:v>0.60000000000000009</c:v>
                </c:pt>
                <c:pt idx="96">
                  <c:v>0.4</c:v>
                </c:pt>
                <c:pt idx="97">
                  <c:v>0.4</c:v>
                </c:pt>
                <c:pt idx="98">
                  <c:v>0.35</c:v>
                </c:pt>
                <c:pt idx="99">
                  <c:v>0.1</c:v>
                </c:pt>
                <c:pt idx="100">
                  <c:v>0</c:v>
                </c:pt>
                <c:pt idx="101">
                  <c:v>0.15</c:v>
                </c:pt>
                <c:pt idx="102">
                  <c:v>0.1</c:v>
                </c:pt>
                <c:pt idx="103">
                  <c:v>0.05</c:v>
                </c:pt>
                <c:pt idx="104">
                  <c:v>0.05</c:v>
                </c:pt>
                <c:pt idx="105">
                  <c:v>0.05</c:v>
                </c:pt>
                <c:pt idx="106">
                  <c:v>0</c:v>
                </c:pt>
                <c:pt idx="107">
                  <c:v>0.15</c:v>
                </c:pt>
                <c:pt idx="108">
                  <c:v>0</c:v>
                </c:pt>
                <c:pt idx="109">
                  <c:v>0.1</c:v>
                </c:pt>
                <c:pt idx="110">
                  <c:v>0.05</c:v>
                </c:pt>
                <c:pt idx="111">
                  <c:v>0.15</c:v>
                </c:pt>
                <c:pt idx="112">
                  <c:v>0.15</c:v>
                </c:pt>
                <c:pt idx="113">
                  <c:v>0</c:v>
                </c:pt>
                <c:pt idx="114">
                  <c:v>0.15</c:v>
                </c:pt>
                <c:pt idx="115">
                  <c:v>0.05</c:v>
                </c:pt>
                <c:pt idx="116">
                  <c:v>0.1</c:v>
                </c:pt>
                <c:pt idx="117">
                  <c:v>0.05</c:v>
                </c:pt>
                <c:pt idx="118">
                  <c:v>0.1</c:v>
                </c:pt>
                <c:pt idx="119">
                  <c:v>0.05</c:v>
                </c:pt>
                <c:pt idx="120">
                  <c:v>0</c:v>
                </c:pt>
                <c:pt idx="121">
                  <c:v>0.15</c:v>
                </c:pt>
                <c:pt idx="122">
                  <c:v>0.1</c:v>
                </c:pt>
                <c:pt idx="123">
                  <c:v>0</c:v>
                </c:pt>
                <c:pt idx="124">
                  <c:v>0.05</c:v>
                </c:pt>
                <c:pt idx="125">
                  <c:v>0</c:v>
                </c:pt>
                <c:pt idx="126">
                  <c:v>0.15</c:v>
                </c:pt>
                <c:pt idx="127">
                  <c:v>0.05</c:v>
                </c:pt>
                <c:pt idx="128">
                  <c:v>0.1</c:v>
                </c:pt>
                <c:pt idx="129">
                  <c:v>0</c:v>
                </c:pt>
                <c:pt idx="130">
                  <c:v>0.05</c:v>
                </c:pt>
                <c:pt idx="131">
                  <c:v>0</c:v>
                </c:pt>
                <c:pt idx="132">
                  <c:v>0.05</c:v>
                </c:pt>
                <c:pt idx="133">
                  <c:v>0.05</c:v>
                </c:pt>
                <c:pt idx="134">
                  <c:v>0.05</c:v>
                </c:pt>
                <c:pt idx="135">
                  <c:v>0.1</c:v>
                </c:pt>
                <c:pt idx="136">
                  <c:v>0.15</c:v>
                </c:pt>
                <c:pt idx="137">
                  <c:v>0</c:v>
                </c:pt>
                <c:pt idx="138">
                  <c:v>0.2</c:v>
                </c:pt>
                <c:pt idx="139">
                  <c:v>0.05</c:v>
                </c:pt>
                <c:pt idx="140">
                  <c:v>0</c:v>
                </c:pt>
                <c:pt idx="141">
                  <c:v>0.1</c:v>
                </c:pt>
                <c:pt idx="142">
                  <c:v>0.1</c:v>
                </c:pt>
                <c:pt idx="143">
                  <c:v>0</c:v>
                </c:pt>
                <c:pt idx="144">
                  <c:v>0.1</c:v>
                </c:pt>
                <c:pt idx="145">
                  <c:v>0.05</c:v>
                </c:pt>
                <c:pt idx="146">
                  <c:v>0</c:v>
                </c:pt>
                <c:pt idx="147">
                  <c:v>0.2</c:v>
                </c:pt>
                <c:pt idx="148">
                  <c:v>0.05</c:v>
                </c:pt>
                <c:pt idx="149">
                  <c:v>0</c:v>
                </c:pt>
                <c:pt idx="150">
                  <c:v>0.1</c:v>
                </c:pt>
                <c:pt idx="151">
                  <c:v>0.1</c:v>
                </c:pt>
                <c:pt idx="152">
                  <c:v>0.05</c:v>
                </c:pt>
                <c:pt idx="153">
                  <c:v>0.05</c:v>
                </c:pt>
                <c:pt idx="154">
                  <c:v>0.2</c:v>
                </c:pt>
                <c:pt idx="155">
                  <c:v>0.25</c:v>
                </c:pt>
                <c:pt idx="156">
                  <c:v>0</c:v>
                </c:pt>
                <c:pt idx="157">
                  <c:v>0.1</c:v>
                </c:pt>
                <c:pt idx="158">
                  <c:v>0.05</c:v>
                </c:pt>
                <c:pt idx="159">
                  <c:v>0</c:v>
                </c:pt>
                <c:pt idx="160">
                  <c:v>0.1</c:v>
                </c:pt>
                <c:pt idx="161">
                  <c:v>0.1</c:v>
                </c:pt>
                <c:pt idx="162">
                  <c:v>0.15</c:v>
                </c:pt>
                <c:pt idx="163">
                  <c:v>0</c:v>
                </c:pt>
                <c:pt idx="164">
                  <c:v>0.1</c:v>
                </c:pt>
                <c:pt idx="165">
                  <c:v>0.05</c:v>
                </c:pt>
                <c:pt idx="166">
                  <c:v>0.05</c:v>
                </c:pt>
                <c:pt idx="167">
                  <c:v>0.15</c:v>
                </c:pt>
                <c:pt idx="168">
                  <c:v>0.05</c:v>
                </c:pt>
                <c:pt idx="169">
                  <c:v>0.15</c:v>
                </c:pt>
                <c:pt idx="170">
                  <c:v>0</c:v>
                </c:pt>
                <c:pt idx="171">
                  <c:v>0.1</c:v>
                </c:pt>
                <c:pt idx="172">
                  <c:v>0.1</c:v>
                </c:pt>
                <c:pt idx="173">
                  <c:v>0.05</c:v>
                </c:pt>
                <c:pt idx="174">
                  <c:v>0</c:v>
                </c:pt>
                <c:pt idx="175">
                  <c:v>0.05</c:v>
                </c:pt>
                <c:pt idx="176">
                  <c:v>0.2</c:v>
                </c:pt>
                <c:pt idx="177">
                  <c:v>0</c:v>
                </c:pt>
                <c:pt idx="178">
                  <c:v>0.1</c:v>
                </c:pt>
                <c:pt idx="179">
                  <c:v>0.05</c:v>
                </c:pt>
                <c:pt idx="180">
                  <c:v>0.2</c:v>
                </c:pt>
                <c:pt idx="181">
                  <c:v>0.05</c:v>
                </c:pt>
                <c:pt idx="182">
                  <c:v>0.1</c:v>
                </c:pt>
                <c:pt idx="183">
                  <c:v>0.1</c:v>
                </c:pt>
                <c:pt idx="184">
                  <c:v>0</c:v>
                </c:pt>
                <c:pt idx="185">
                  <c:v>0.15</c:v>
                </c:pt>
                <c:pt idx="186">
                  <c:v>0.05</c:v>
                </c:pt>
                <c:pt idx="187">
                  <c:v>0.15</c:v>
                </c:pt>
                <c:pt idx="188">
                  <c:v>0.1</c:v>
                </c:pt>
                <c:pt idx="189">
                  <c:v>0.15</c:v>
                </c:pt>
                <c:pt idx="190">
                  <c:v>0.05</c:v>
                </c:pt>
                <c:pt idx="191">
                  <c:v>0</c:v>
                </c:pt>
                <c:pt idx="192">
                  <c:v>0.1</c:v>
                </c:pt>
                <c:pt idx="193">
                  <c:v>0.3</c:v>
                </c:pt>
                <c:pt idx="194">
                  <c:v>0</c:v>
                </c:pt>
                <c:pt idx="195">
                  <c:v>0.2</c:v>
                </c:pt>
                <c:pt idx="196">
                  <c:v>0.2</c:v>
                </c:pt>
                <c:pt idx="197">
                  <c:v>0</c:v>
                </c:pt>
                <c:pt idx="198">
                  <c:v>0.1</c:v>
                </c:pt>
                <c:pt idx="199">
                  <c:v>0.25</c:v>
                </c:pt>
                <c:pt idx="200">
                  <c:v>0</c:v>
                </c:pt>
                <c:pt idx="201">
                  <c:v>0.1</c:v>
                </c:pt>
                <c:pt idx="202">
                  <c:v>0.15</c:v>
                </c:pt>
                <c:pt idx="203">
                  <c:v>0</c:v>
                </c:pt>
                <c:pt idx="204">
                  <c:v>0.1</c:v>
                </c:pt>
                <c:pt idx="205">
                  <c:v>0.15</c:v>
                </c:pt>
                <c:pt idx="206">
                  <c:v>0</c:v>
                </c:pt>
                <c:pt idx="207">
                  <c:v>0.15</c:v>
                </c:pt>
                <c:pt idx="208">
                  <c:v>0.1</c:v>
                </c:pt>
                <c:pt idx="209">
                  <c:v>0</c:v>
                </c:pt>
                <c:pt idx="210">
                  <c:v>0</c:v>
                </c:pt>
                <c:pt idx="211">
                  <c:v>0.15</c:v>
                </c:pt>
                <c:pt idx="212">
                  <c:v>0.1</c:v>
                </c:pt>
                <c:pt idx="213">
                  <c:v>0</c:v>
                </c:pt>
                <c:pt idx="214">
                  <c:v>0.1</c:v>
                </c:pt>
                <c:pt idx="215">
                  <c:v>0.1</c:v>
                </c:pt>
                <c:pt idx="216">
                  <c:v>0.05</c:v>
                </c:pt>
                <c:pt idx="217">
                  <c:v>0.1</c:v>
                </c:pt>
                <c:pt idx="218">
                  <c:v>0.05</c:v>
                </c:pt>
                <c:pt idx="219">
                  <c:v>0</c:v>
                </c:pt>
                <c:pt idx="220">
                  <c:v>0.15</c:v>
                </c:pt>
                <c:pt idx="221">
                  <c:v>0.2</c:v>
                </c:pt>
                <c:pt idx="222">
                  <c:v>0.1</c:v>
                </c:pt>
                <c:pt idx="223">
                  <c:v>0.05</c:v>
                </c:pt>
                <c:pt idx="224">
                  <c:v>0.15</c:v>
                </c:pt>
                <c:pt idx="225">
                  <c:v>0.1</c:v>
                </c:pt>
                <c:pt idx="226">
                  <c:v>0</c:v>
                </c:pt>
                <c:pt idx="227">
                  <c:v>0.15</c:v>
                </c:pt>
                <c:pt idx="228">
                  <c:v>0</c:v>
                </c:pt>
                <c:pt idx="229">
                  <c:v>0.05</c:v>
                </c:pt>
                <c:pt idx="230">
                  <c:v>0</c:v>
                </c:pt>
                <c:pt idx="231">
                  <c:v>0.3</c:v>
                </c:pt>
                <c:pt idx="232">
                  <c:v>0.1</c:v>
                </c:pt>
                <c:pt idx="233">
                  <c:v>0.05</c:v>
                </c:pt>
                <c:pt idx="234">
                  <c:v>0.25</c:v>
                </c:pt>
                <c:pt idx="235">
                  <c:v>0</c:v>
                </c:pt>
                <c:pt idx="236">
                  <c:v>0.15</c:v>
                </c:pt>
                <c:pt idx="237">
                  <c:v>0</c:v>
                </c:pt>
                <c:pt idx="238">
                  <c:v>0.1</c:v>
                </c:pt>
                <c:pt idx="239">
                  <c:v>0</c:v>
                </c:pt>
                <c:pt idx="240">
                  <c:v>0.1</c:v>
                </c:pt>
                <c:pt idx="241">
                  <c:v>0.05</c:v>
                </c:pt>
                <c:pt idx="242">
                  <c:v>0.05</c:v>
                </c:pt>
                <c:pt idx="243">
                  <c:v>0.15</c:v>
                </c:pt>
                <c:pt idx="244">
                  <c:v>0</c:v>
                </c:pt>
                <c:pt idx="245">
                  <c:v>0.15</c:v>
                </c:pt>
                <c:pt idx="246">
                  <c:v>0</c:v>
                </c:pt>
                <c:pt idx="247">
                  <c:v>0</c:v>
                </c:pt>
                <c:pt idx="248">
                  <c:v>0</c:v>
                </c:pt>
                <c:pt idx="249">
                  <c:v>0.1</c:v>
                </c:pt>
                <c:pt idx="250">
                  <c:v>0.1</c:v>
                </c:pt>
                <c:pt idx="251">
                  <c:v>0.05</c:v>
                </c:pt>
                <c:pt idx="252">
                  <c:v>0.1</c:v>
                </c:pt>
                <c:pt idx="253">
                  <c:v>0</c:v>
                </c:pt>
                <c:pt idx="254">
                  <c:v>0</c:v>
                </c:pt>
                <c:pt idx="255">
                  <c:v>0</c:v>
                </c:pt>
                <c:pt idx="256">
                  <c:v>0</c:v>
                </c:pt>
                <c:pt idx="257">
                  <c:v>0.05</c:v>
                </c:pt>
                <c:pt idx="258">
                  <c:v>0</c:v>
                </c:pt>
                <c:pt idx="259">
                  <c:v>0</c:v>
                </c:pt>
                <c:pt idx="260">
                  <c:v>0.1</c:v>
                </c:pt>
                <c:pt idx="261">
                  <c:v>0</c:v>
                </c:pt>
                <c:pt idx="262">
                  <c:v>0</c:v>
                </c:pt>
                <c:pt idx="263">
                  <c:v>0</c:v>
                </c:pt>
                <c:pt idx="264">
                  <c:v>0</c:v>
                </c:pt>
                <c:pt idx="265">
                  <c:v>0</c:v>
                </c:pt>
                <c:pt idx="266">
                  <c:v>0.05</c:v>
                </c:pt>
                <c:pt idx="267">
                  <c:v>0.05</c:v>
                </c:pt>
                <c:pt idx="268">
                  <c:v>0.05</c:v>
                </c:pt>
                <c:pt idx="269">
                  <c:v>0</c:v>
                </c:pt>
                <c:pt idx="270">
                  <c:v>0.05</c:v>
                </c:pt>
                <c:pt idx="271">
                  <c:v>0</c:v>
                </c:pt>
                <c:pt idx="272">
                  <c:v>0.1</c:v>
                </c:pt>
                <c:pt idx="273">
                  <c:v>0.2</c:v>
                </c:pt>
                <c:pt idx="274">
                  <c:v>0.1</c:v>
                </c:pt>
                <c:pt idx="275">
                  <c:v>0.2</c:v>
                </c:pt>
                <c:pt idx="276">
                  <c:v>0</c:v>
                </c:pt>
                <c:pt idx="277">
                  <c:v>0.05</c:v>
                </c:pt>
                <c:pt idx="278">
                  <c:v>0</c:v>
                </c:pt>
                <c:pt idx="279">
                  <c:v>0.1</c:v>
                </c:pt>
                <c:pt idx="280">
                  <c:v>0</c:v>
                </c:pt>
                <c:pt idx="281">
                  <c:v>0.35</c:v>
                </c:pt>
                <c:pt idx="282">
                  <c:v>0.1</c:v>
                </c:pt>
                <c:pt idx="283">
                  <c:v>0.05</c:v>
                </c:pt>
                <c:pt idx="284">
                  <c:v>0.1</c:v>
                </c:pt>
                <c:pt idx="285">
                  <c:v>0</c:v>
                </c:pt>
                <c:pt idx="286">
                  <c:v>0</c:v>
                </c:pt>
                <c:pt idx="287">
                  <c:v>0.1</c:v>
                </c:pt>
                <c:pt idx="288">
                  <c:v>0.4</c:v>
                </c:pt>
                <c:pt idx="289">
                  <c:v>0.3</c:v>
                </c:pt>
                <c:pt idx="290">
                  <c:v>0.3</c:v>
                </c:pt>
                <c:pt idx="291">
                  <c:v>0.1</c:v>
                </c:pt>
                <c:pt idx="292">
                  <c:v>0.05</c:v>
                </c:pt>
                <c:pt idx="293">
                  <c:v>0</c:v>
                </c:pt>
                <c:pt idx="294">
                  <c:v>0.05</c:v>
                </c:pt>
                <c:pt idx="295">
                  <c:v>0.05</c:v>
                </c:pt>
                <c:pt idx="296">
                  <c:v>0.1</c:v>
                </c:pt>
                <c:pt idx="297">
                  <c:v>0.1</c:v>
                </c:pt>
                <c:pt idx="298">
                  <c:v>0</c:v>
                </c:pt>
                <c:pt idx="299">
                  <c:v>0.05</c:v>
                </c:pt>
                <c:pt idx="300">
                  <c:v>0.1</c:v>
                </c:pt>
                <c:pt idx="301">
                  <c:v>0.2</c:v>
                </c:pt>
                <c:pt idx="302">
                  <c:v>0</c:v>
                </c:pt>
                <c:pt idx="303">
                  <c:v>0.05</c:v>
                </c:pt>
                <c:pt idx="304">
                  <c:v>0.05</c:v>
                </c:pt>
                <c:pt idx="305">
                  <c:v>0.1</c:v>
                </c:pt>
                <c:pt idx="306">
                  <c:v>0.05</c:v>
                </c:pt>
                <c:pt idx="307">
                  <c:v>0.2</c:v>
                </c:pt>
                <c:pt idx="308">
                  <c:v>0.1</c:v>
                </c:pt>
                <c:pt idx="309">
                  <c:v>0.05</c:v>
                </c:pt>
                <c:pt idx="310">
                  <c:v>0.2</c:v>
                </c:pt>
              </c:numCache>
            </c:numRef>
          </c:xVal>
          <c:yVal>
            <c:numRef>
              <c:f>Sheet1!$B$2:$B$312</c:f>
              <c:numCache>
                <c:formatCode>General</c:formatCode>
                <c:ptCount val="311"/>
                <c:pt idx="0">
                  <c:v>0</c:v>
                </c:pt>
                <c:pt idx="1">
                  <c:v>0</c:v>
                </c:pt>
                <c:pt idx="2">
                  <c:v>0</c:v>
                </c:pt>
                <c:pt idx="3">
                  <c:v>0</c:v>
                </c:pt>
                <c:pt idx="4">
                  <c:v>0</c:v>
                </c:pt>
                <c:pt idx="5">
                  <c:v>0</c:v>
                </c:pt>
                <c:pt idx="6">
                  <c:v>0</c:v>
                </c:pt>
                <c:pt idx="7">
                  <c:v>0</c:v>
                </c:pt>
                <c:pt idx="8">
                  <c:v>0</c:v>
                </c:pt>
                <c:pt idx="9">
                  <c:v>0</c:v>
                </c:pt>
                <c:pt idx="10">
                  <c:v>0</c:v>
                </c:pt>
                <c:pt idx="11">
                  <c:v>0.1075739850080159</c:v>
                </c:pt>
                <c:pt idx="12">
                  <c:v>0</c:v>
                </c:pt>
                <c:pt idx="13">
                  <c:v>1.511465339210143E-2</c:v>
                </c:pt>
                <c:pt idx="14">
                  <c:v>0</c:v>
                </c:pt>
                <c:pt idx="15">
                  <c:v>4.2928911239096292E-2</c:v>
                </c:pt>
                <c:pt idx="16">
                  <c:v>0</c:v>
                </c:pt>
                <c:pt idx="17">
                  <c:v>0.12924172747363891</c:v>
                </c:pt>
                <c:pt idx="18">
                  <c:v>0</c:v>
                </c:pt>
                <c:pt idx="19">
                  <c:v>0</c:v>
                </c:pt>
                <c:pt idx="20">
                  <c:v>4.9114348672794912E-2</c:v>
                </c:pt>
                <c:pt idx="21">
                  <c:v>0</c:v>
                </c:pt>
                <c:pt idx="22">
                  <c:v>8.9179428686614243E-2</c:v>
                </c:pt>
                <c:pt idx="23">
                  <c:v>0</c:v>
                </c:pt>
                <c:pt idx="24">
                  <c:v>0</c:v>
                </c:pt>
                <c:pt idx="25">
                  <c:v>2.389419490227571E-2</c:v>
                </c:pt>
                <c:pt idx="26">
                  <c:v>0</c:v>
                </c:pt>
                <c:pt idx="27">
                  <c:v>1.8823908838789379E-2</c:v>
                </c:pt>
                <c:pt idx="28">
                  <c:v>0</c:v>
                </c:pt>
                <c:pt idx="29">
                  <c:v>0</c:v>
                </c:pt>
                <c:pt idx="30">
                  <c:v>3.4681866912813802E-2</c:v>
                </c:pt>
                <c:pt idx="31">
                  <c:v>0</c:v>
                </c:pt>
                <c:pt idx="32">
                  <c:v>4.4997333996871877E-2</c:v>
                </c:pt>
                <c:pt idx="33">
                  <c:v>1.5174586903428671E-2</c:v>
                </c:pt>
                <c:pt idx="34">
                  <c:v>0</c:v>
                </c:pt>
                <c:pt idx="35">
                  <c:v>0</c:v>
                </c:pt>
                <c:pt idx="36">
                  <c:v>0</c:v>
                </c:pt>
                <c:pt idx="37">
                  <c:v>6.8489152641307519E-2</c:v>
                </c:pt>
                <c:pt idx="38">
                  <c:v>0</c:v>
                </c:pt>
                <c:pt idx="39">
                  <c:v>0</c:v>
                </c:pt>
                <c:pt idx="40">
                  <c:v>0</c:v>
                </c:pt>
                <c:pt idx="41">
                  <c:v>1.1495774739492599E-2</c:v>
                </c:pt>
                <c:pt idx="42">
                  <c:v>0</c:v>
                </c:pt>
                <c:pt idx="43">
                  <c:v>0</c:v>
                </c:pt>
                <c:pt idx="44">
                  <c:v>0</c:v>
                </c:pt>
                <c:pt idx="45">
                  <c:v>0</c:v>
                </c:pt>
                <c:pt idx="46">
                  <c:v>2.5666582684389171E-2</c:v>
                </c:pt>
                <c:pt idx="47">
                  <c:v>0</c:v>
                </c:pt>
                <c:pt idx="48">
                  <c:v>0</c:v>
                </c:pt>
                <c:pt idx="49">
                  <c:v>0</c:v>
                </c:pt>
                <c:pt idx="50">
                  <c:v>0</c:v>
                </c:pt>
                <c:pt idx="51">
                  <c:v>0</c:v>
                </c:pt>
                <c:pt idx="52">
                  <c:v>0</c:v>
                </c:pt>
                <c:pt idx="53">
                  <c:v>0</c:v>
                </c:pt>
                <c:pt idx="54">
                  <c:v>0</c:v>
                </c:pt>
                <c:pt idx="55">
                  <c:v>0</c:v>
                </c:pt>
                <c:pt idx="56">
                  <c:v>0</c:v>
                </c:pt>
                <c:pt idx="57">
                  <c:v>3.2344375495060432E-2</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61343300703579084</c:v>
                </c:pt>
                <c:pt idx="84">
                  <c:v>0</c:v>
                </c:pt>
                <c:pt idx="85">
                  <c:v>0</c:v>
                </c:pt>
                <c:pt idx="86">
                  <c:v>0.66535516966160668</c:v>
                </c:pt>
                <c:pt idx="87">
                  <c:v>0.27055852215326892</c:v>
                </c:pt>
                <c:pt idx="88">
                  <c:v>0.87388193202146691</c:v>
                </c:pt>
                <c:pt idx="89">
                  <c:v>0.58664971314511916</c:v>
                </c:pt>
                <c:pt idx="90">
                  <c:v>0.35530624225425611</c:v>
                </c:pt>
                <c:pt idx="91">
                  <c:v>0</c:v>
                </c:pt>
                <c:pt idx="92">
                  <c:v>0.118202886940101</c:v>
                </c:pt>
                <c:pt idx="93">
                  <c:v>0.35411594345179648</c:v>
                </c:pt>
                <c:pt idx="94">
                  <c:v>0.40657113909393539</c:v>
                </c:pt>
                <c:pt idx="95">
                  <c:v>0.53240658421394194</c:v>
                </c:pt>
                <c:pt idx="96">
                  <c:v>6.6735813081228716</c:v>
                </c:pt>
                <c:pt idx="97">
                  <c:v>9.6100644010672305</c:v>
                </c:pt>
                <c:pt idx="98">
                  <c:v>0</c:v>
                </c:pt>
                <c:pt idx="99">
                  <c:v>3.6064811690697382E-3</c:v>
                </c:pt>
                <c:pt idx="100">
                  <c:v>0</c:v>
                </c:pt>
                <c:pt idx="101">
                  <c:v>0</c:v>
                </c:pt>
                <c:pt idx="102">
                  <c:v>0</c:v>
                </c:pt>
                <c:pt idx="103">
                  <c:v>0</c:v>
                </c:pt>
                <c:pt idx="104">
                  <c:v>0</c:v>
                </c:pt>
                <c:pt idx="105">
                  <c:v>0</c:v>
                </c:pt>
                <c:pt idx="106">
                  <c:v>0</c:v>
                </c:pt>
                <c:pt idx="107">
                  <c:v>0</c:v>
                </c:pt>
                <c:pt idx="108">
                  <c:v>0</c:v>
                </c:pt>
                <c:pt idx="109">
                  <c:v>0.18428223887646261</c:v>
                </c:pt>
                <c:pt idx="110">
                  <c:v>0</c:v>
                </c:pt>
                <c:pt idx="111">
                  <c:v>0</c:v>
                </c:pt>
                <c:pt idx="112">
                  <c:v>0</c:v>
                </c:pt>
                <c:pt idx="113">
                  <c:v>0</c:v>
                </c:pt>
                <c:pt idx="114">
                  <c:v>0</c:v>
                </c:pt>
                <c:pt idx="115">
                  <c:v>0</c:v>
                </c:pt>
                <c:pt idx="116">
                  <c:v>4.4485855792578528E-2</c:v>
                </c:pt>
                <c:pt idx="117">
                  <c:v>0</c:v>
                </c:pt>
                <c:pt idx="118">
                  <c:v>0</c:v>
                </c:pt>
                <c:pt idx="119">
                  <c:v>0</c:v>
                </c:pt>
                <c:pt idx="120">
                  <c:v>0</c:v>
                </c:pt>
                <c:pt idx="121">
                  <c:v>0</c:v>
                </c:pt>
                <c:pt idx="122">
                  <c:v>1.074536469066999E-2</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1.208548268238762E-2</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4.4286341356353787E-2</c:v>
                </c:pt>
                <c:pt idx="273">
                  <c:v>0</c:v>
                </c:pt>
                <c:pt idx="274">
                  <c:v>0</c:v>
                </c:pt>
                <c:pt idx="275">
                  <c:v>0</c:v>
                </c:pt>
                <c:pt idx="276">
                  <c:v>0</c:v>
                </c:pt>
                <c:pt idx="277">
                  <c:v>0</c:v>
                </c:pt>
                <c:pt idx="278">
                  <c:v>0</c:v>
                </c:pt>
                <c:pt idx="279">
                  <c:v>9.5030221921740862E-2</c:v>
                </c:pt>
                <c:pt idx="280">
                  <c:v>0</c:v>
                </c:pt>
                <c:pt idx="281">
                  <c:v>8.4190832553788592E-2</c:v>
                </c:pt>
                <c:pt idx="282">
                  <c:v>0</c:v>
                </c:pt>
                <c:pt idx="283">
                  <c:v>0</c:v>
                </c:pt>
                <c:pt idx="284">
                  <c:v>1.9414048711613129E-2</c:v>
                </c:pt>
                <c:pt idx="285">
                  <c:v>0</c:v>
                </c:pt>
                <c:pt idx="286">
                  <c:v>0</c:v>
                </c:pt>
                <c:pt idx="287">
                  <c:v>0.15755358841173461</c:v>
                </c:pt>
                <c:pt idx="288">
                  <c:v>0.15608959402706479</c:v>
                </c:pt>
                <c:pt idx="289">
                  <c:v>7.0868639048581716</c:v>
                </c:pt>
                <c:pt idx="290">
                  <c:v>6.3668380332690564</c:v>
                </c:pt>
                <c:pt idx="291">
                  <c:v>2.6271937311515919E-3</c:v>
                </c:pt>
                <c:pt idx="292">
                  <c:v>1.6755574253260411E-2</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12</c:f>
              <c:numCache>
                <c:formatCode>General</c:formatCode>
                <c:ptCount val="311"/>
                <c:pt idx="0">
                  <c:v>14</c:v>
                </c:pt>
                <c:pt idx="1">
                  <c:v>13.5</c:v>
                </c:pt>
                <c:pt idx="2">
                  <c:v>9.5</c:v>
                </c:pt>
                <c:pt idx="3">
                  <c:v>6</c:v>
                </c:pt>
                <c:pt idx="4">
                  <c:v>13</c:v>
                </c:pt>
                <c:pt idx="5">
                  <c:v>10</c:v>
                </c:pt>
                <c:pt idx="6">
                  <c:v>6</c:v>
                </c:pt>
                <c:pt idx="7">
                  <c:v>27.5</c:v>
                </c:pt>
                <c:pt idx="8">
                  <c:v>6</c:v>
                </c:pt>
                <c:pt idx="9">
                  <c:v>10</c:v>
                </c:pt>
                <c:pt idx="10">
                  <c:v>9.5</c:v>
                </c:pt>
                <c:pt idx="11">
                  <c:v>6</c:v>
                </c:pt>
                <c:pt idx="12">
                  <c:v>13</c:v>
                </c:pt>
                <c:pt idx="13">
                  <c:v>10</c:v>
                </c:pt>
                <c:pt idx="14">
                  <c:v>21.5</c:v>
                </c:pt>
                <c:pt idx="15">
                  <c:v>6</c:v>
                </c:pt>
                <c:pt idx="16">
                  <c:v>9.5</c:v>
                </c:pt>
                <c:pt idx="17">
                  <c:v>6</c:v>
                </c:pt>
                <c:pt idx="18">
                  <c:v>12.5</c:v>
                </c:pt>
                <c:pt idx="19">
                  <c:v>29.5</c:v>
                </c:pt>
                <c:pt idx="20">
                  <c:v>6</c:v>
                </c:pt>
                <c:pt idx="21">
                  <c:v>10</c:v>
                </c:pt>
                <c:pt idx="22">
                  <c:v>6</c:v>
                </c:pt>
                <c:pt idx="23">
                  <c:v>13.5</c:v>
                </c:pt>
                <c:pt idx="24">
                  <c:v>27.5</c:v>
                </c:pt>
                <c:pt idx="25">
                  <c:v>6</c:v>
                </c:pt>
                <c:pt idx="26">
                  <c:v>8.5</c:v>
                </c:pt>
                <c:pt idx="27">
                  <c:v>6</c:v>
                </c:pt>
                <c:pt idx="28">
                  <c:v>13.5</c:v>
                </c:pt>
                <c:pt idx="29">
                  <c:v>27</c:v>
                </c:pt>
                <c:pt idx="30">
                  <c:v>6</c:v>
                </c:pt>
                <c:pt idx="31">
                  <c:v>10</c:v>
                </c:pt>
                <c:pt idx="32">
                  <c:v>6</c:v>
                </c:pt>
                <c:pt idx="33">
                  <c:v>6</c:v>
                </c:pt>
                <c:pt idx="34">
                  <c:v>13.5</c:v>
                </c:pt>
                <c:pt idx="35">
                  <c:v>18</c:v>
                </c:pt>
                <c:pt idx="36">
                  <c:v>10</c:v>
                </c:pt>
                <c:pt idx="37">
                  <c:v>6</c:v>
                </c:pt>
                <c:pt idx="38">
                  <c:v>13</c:v>
                </c:pt>
                <c:pt idx="39">
                  <c:v>24</c:v>
                </c:pt>
                <c:pt idx="40">
                  <c:v>9.5</c:v>
                </c:pt>
                <c:pt idx="41">
                  <c:v>6</c:v>
                </c:pt>
                <c:pt idx="42">
                  <c:v>10</c:v>
                </c:pt>
                <c:pt idx="43">
                  <c:v>10</c:v>
                </c:pt>
                <c:pt idx="44">
                  <c:v>13.5</c:v>
                </c:pt>
                <c:pt idx="45">
                  <c:v>20.5</c:v>
                </c:pt>
                <c:pt idx="46">
                  <c:v>6</c:v>
                </c:pt>
                <c:pt idx="47">
                  <c:v>9</c:v>
                </c:pt>
                <c:pt idx="48">
                  <c:v>10</c:v>
                </c:pt>
                <c:pt idx="49">
                  <c:v>10</c:v>
                </c:pt>
                <c:pt idx="50">
                  <c:v>13.5</c:v>
                </c:pt>
                <c:pt idx="51">
                  <c:v>27</c:v>
                </c:pt>
                <c:pt idx="52">
                  <c:v>9.5</c:v>
                </c:pt>
                <c:pt idx="53">
                  <c:v>10</c:v>
                </c:pt>
                <c:pt idx="54">
                  <c:v>10</c:v>
                </c:pt>
                <c:pt idx="55">
                  <c:v>12</c:v>
                </c:pt>
                <c:pt idx="56">
                  <c:v>21</c:v>
                </c:pt>
                <c:pt idx="57">
                  <c:v>6</c:v>
                </c:pt>
                <c:pt idx="58">
                  <c:v>9</c:v>
                </c:pt>
                <c:pt idx="59">
                  <c:v>10</c:v>
                </c:pt>
                <c:pt idx="60">
                  <c:v>10</c:v>
                </c:pt>
                <c:pt idx="61">
                  <c:v>13.5</c:v>
                </c:pt>
                <c:pt idx="62">
                  <c:v>23.5</c:v>
                </c:pt>
                <c:pt idx="63">
                  <c:v>9.5</c:v>
                </c:pt>
                <c:pt idx="64">
                  <c:v>10</c:v>
                </c:pt>
                <c:pt idx="65">
                  <c:v>10</c:v>
                </c:pt>
                <c:pt idx="66">
                  <c:v>27.5</c:v>
                </c:pt>
                <c:pt idx="67">
                  <c:v>10</c:v>
                </c:pt>
                <c:pt idx="68">
                  <c:v>10</c:v>
                </c:pt>
                <c:pt idx="69">
                  <c:v>10</c:v>
                </c:pt>
                <c:pt idx="70">
                  <c:v>10</c:v>
                </c:pt>
                <c:pt idx="71">
                  <c:v>10</c:v>
                </c:pt>
                <c:pt idx="72">
                  <c:v>10</c:v>
                </c:pt>
                <c:pt idx="73">
                  <c:v>10</c:v>
                </c:pt>
                <c:pt idx="74">
                  <c:v>6</c:v>
                </c:pt>
                <c:pt idx="75">
                  <c:v>10.5</c:v>
                </c:pt>
                <c:pt idx="76">
                  <c:v>8.5</c:v>
                </c:pt>
                <c:pt idx="77">
                  <c:v>6</c:v>
                </c:pt>
                <c:pt idx="78">
                  <c:v>10</c:v>
                </c:pt>
                <c:pt idx="79">
                  <c:v>10</c:v>
                </c:pt>
                <c:pt idx="80">
                  <c:v>5.5</c:v>
                </c:pt>
                <c:pt idx="81">
                  <c:v>6</c:v>
                </c:pt>
                <c:pt idx="82">
                  <c:v>10.5</c:v>
                </c:pt>
                <c:pt idx="83">
                  <c:v>3</c:v>
                </c:pt>
                <c:pt idx="84">
                  <c:v>10</c:v>
                </c:pt>
                <c:pt idx="85">
                  <c:v>10</c:v>
                </c:pt>
                <c:pt idx="86">
                  <c:v>6.5</c:v>
                </c:pt>
                <c:pt idx="87">
                  <c:v>5</c:v>
                </c:pt>
                <c:pt idx="88">
                  <c:v>5</c:v>
                </c:pt>
                <c:pt idx="89">
                  <c:v>4</c:v>
                </c:pt>
                <c:pt idx="90">
                  <c:v>3</c:v>
                </c:pt>
                <c:pt idx="91">
                  <c:v>10</c:v>
                </c:pt>
                <c:pt idx="92">
                  <c:v>10</c:v>
                </c:pt>
                <c:pt idx="93">
                  <c:v>6</c:v>
                </c:pt>
                <c:pt idx="94">
                  <c:v>4.5</c:v>
                </c:pt>
                <c:pt idx="95">
                  <c:v>4</c:v>
                </c:pt>
                <c:pt idx="96">
                  <c:v>6</c:v>
                </c:pt>
                <c:pt idx="97">
                  <c:v>6</c:v>
                </c:pt>
                <c:pt idx="98">
                  <c:v>6.5</c:v>
                </c:pt>
                <c:pt idx="99">
                  <c:v>27</c:v>
                </c:pt>
                <c:pt idx="100">
                  <c:v>15</c:v>
                </c:pt>
                <c:pt idx="101">
                  <c:v>8.5</c:v>
                </c:pt>
                <c:pt idx="102">
                  <c:v>6</c:v>
                </c:pt>
                <c:pt idx="103">
                  <c:v>6.5</c:v>
                </c:pt>
                <c:pt idx="104">
                  <c:v>10.5</c:v>
                </c:pt>
                <c:pt idx="105">
                  <c:v>14</c:v>
                </c:pt>
                <c:pt idx="106">
                  <c:v>15</c:v>
                </c:pt>
                <c:pt idx="107">
                  <c:v>8.5</c:v>
                </c:pt>
                <c:pt idx="108">
                  <c:v>6.5</c:v>
                </c:pt>
                <c:pt idx="109">
                  <c:v>27</c:v>
                </c:pt>
                <c:pt idx="110">
                  <c:v>6</c:v>
                </c:pt>
                <c:pt idx="111">
                  <c:v>9.5</c:v>
                </c:pt>
                <c:pt idx="112">
                  <c:v>13</c:v>
                </c:pt>
                <c:pt idx="113">
                  <c:v>15</c:v>
                </c:pt>
                <c:pt idx="114">
                  <c:v>8.5</c:v>
                </c:pt>
                <c:pt idx="115">
                  <c:v>6.5</c:v>
                </c:pt>
                <c:pt idx="116">
                  <c:v>27</c:v>
                </c:pt>
                <c:pt idx="117">
                  <c:v>6</c:v>
                </c:pt>
                <c:pt idx="118">
                  <c:v>10</c:v>
                </c:pt>
                <c:pt idx="119">
                  <c:v>14.5</c:v>
                </c:pt>
                <c:pt idx="120">
                  <c:v>15</c:v>
                </c:pt>
                <c:pt idx="121">
                  <c:v>8.5</c:v>
                </c:pt>
                <c:pt idx="122">
                  <c:v>27</c:v>
                </c:pt>
                <c:pt idx="123">
                  <c:v>15</c:v>
                </c:pt>
                <c:pt idx="124">
                  <c:v>9.5</c:v>
                </c:pt>
                <c:pt idx="125">
                  <c:v>15</c:v>
                </c:pt>
                <c:pt idx="126">
                  <c:v>8.5</c:v>
                </c:pt>
                <c:pt idx="127">
                  <c:v>6</c:v>
                </c:pt>
                <c:pt idx="128">
                  <c:v>6</c:v>
                </c:pt>
                <c:pt idx="129">
                  <c:v>11</c:v>
                </c:pt>
                <c:pt idx="130">
                  <c:v>14.5</c:v>
                </c:pt>
                <c:pt idx="131">
                  <c:v>15</c:v>
                </c:pt>
                <c:pt idx="132">
                  <c:v>9</c:v>
                </c:pt>
                <c:pt idx="133">
                  <c:v>6</c:v>
                </c:pt>
                <c:pt idx="134">
                  <c:v>6</c:v>
                </c:pt>
                <c:pt idx="135">
                  <c:v>10</c:v>
                </c:pt>
                <c:pt idx="136">
                  <c:v>12.5</c:v>
                </c:pt>
                <c:pt idx="137">
                  <c:v>15</c:v>
                </c:pt>
                <c:pt idx="138">
                  <c:v>8</c:v>
                </c:pt>
                <c:pt idx="139">
                  <c:v>6.5</c:v>
                </c:pt>
                <c:pt idx="140">
                  <c:v>6.5</c:v>
                </c:pt>
                <c:pt idx="141">
                  <c:v>10</c:v>
                </c:pt>
                <c:pt idx="142">
                  <c:v>13.5</c:v>
                </c:pt>
                <c:pt idx="143">
                  <c:v>15</c:v>
                </c:pt>
                <c:pt idx="144">
                  <c:v>8.5</c:v>
                </c:pt>
                <c:pt idx="145">
                  <c:v>6</c:v>
                </c:pt>
                <c:pt idx="146">
                  <c:v>6.5</c:v>
                </c:pt>
                <c:pt idx="147">
                  <c:v>9</c:v>
                </c:pt>
                <c:pt idx="148">
                  <c:v>14.5</c:v>
                </c:pt>
                <c:pt idx="149">
                  <c:v>15</c:v>
                </c:pt>
                <c:pt idx="150">
                  <c:v>9</c:v>
                </c:pt>
                <c:pt idx="151">
                  <c:v>6</c:v>
                </c:pt>
                <c:pt idx="152">
                  <c:v>26.5</c:v>
                </c:pt>
                <c:pt idx="153">
                  <c:v>6</c:v>
                </c:pt>
                <c:pt idx="154">
                  <c:v>9</c:v>
                </c:pt>
                <c:pt idx="155">
                  <c:v>11</c:v>
                </c:pt>
                <c:pt idx="156">
                  <c:v>15</c:v>
                </c:pt>
                <c:pt idx="157">
                  <c:v>9</c:v>
                </c:pt>
                <c:pt idx="158">
                  <c:v>6</c:v>
                </c:pt>
                <c:pt idx="159">
                  <c:v>26.5</c:v>
                </c:pt>
                <c:pt idx="160">
                  <c:v>6</c:v>
                </c:pt>
                <c:pt idx="161">
                  <c:v>10</c:v>
                </c:pt>
                <c:pt idx="162">
                  <c:v>12.5</c:v>
                </c:pt>
                <c:pt idx="163">
                  <c:v>15</c:v>
                </c:pt>
                <c:pt idx="164">
                  <c:v>9</c:v>
                </c:pt>
                <c:pt idx="165">
                  <c:v>6</c:v>
                </c:pt>
                <c:pt idx="166">
                  <c:v>25.5</c:v>
                </c:pt>
                <c:pt idx="167">
                  <c:v>5.5</c:v>
                </c:pt>
                <c:pt idx="168">
                  <c:v>10.5</c:v>
                </c:pt>
                <c:pt idx="169">
                  <c:v>12.5</c:v>
                </c:pt>
                <c:pt idx="170">
                  <c:v>15</c:v>
                </c:pt>
                <c:pt idx="171">
                  <c:v>9</c:v>
                </c:pt>
                <c:pt idx="172">
                  <c:v>6</c:v>
                </c:pt>
                <c:pt idx="173">
                  <c:v>26</c:v>
                </c:pt>
                <c:pt idx="174">
                  <c:v>6.5</c:v>
                </c:pt>
                <c:pt idx="175">
                  <c:v>10.5</c:v>
                </c:pt>
                <c:pt idx="176">
                  <c:v>12</c:v>
                </c:pt>
                <c:pt idx="177">
                  <c:v>15</c:v>
                </c:pt>
                <c:pt idx="178">
                  <c:v>9</c:v>
                </c:pt>
                <c:pt idx="179">
                  <c:v>6.5</c:v>
                </c:pt>
                <c:pt idx="180">
                  <c:v>21</c:v>
                </c:pt>
                <c:pt idx="181">
                  <c:v>6</c:v>
                </c:pt>
                <c:pt idx="182">
                  <c:v>9.5</c:v>
                </c:pt>
                <c:pt idx="183">
                  <c:v>13.5</c:v>
                </c:pt>
                <c:pt idx="184">
                  <c:v>15</c:v>
                </c:pt>
                <c:pt idx="185">
                  <c:v>8.5</c:v>
                </c:pt>
                <c:pt idx="186">
                  <c:v>6</c:v>
                </c:pt>
                <c:pt idx="187">
                  <c:v>23</c:v>
                </c:pt>
                <c:pt idx="188">
                  <c:v>6</c:v>
                </c:pt>
                <c:pt idx="189">
                  <c:v>9.5</c:v>
                </c:pt>
                <c:pt idx="190">
                  <c:v>14.5</c:v>
                </c:pt>
                <c:pt idx="191">
                  <c:v>15</c:v>
                </c:pt>
                <c:pt idx="192">
                  <c:v>9</c:v>
                </c:pt>
                <c:pt idx="193">
                  <c:v>19.5</c:v>
                </c:pt>
                <c:pt idx="194">
                  <c:v>15</c:v>
                </c:pt>
                <c:pt idx="195">
                  <c:v>8</c:v>
                </c:pt>
                <c:pt idx="196">
                  <c:v>22</c:v>
                </c:pt>
                <c:pt idx="197">
                  <c:v>15</c:v>
                </c:pt>
                <c:pt idx="198">
                  <c:v>9</c:v>
                </c:pt>
                <c:pt idx="199">
                  <c:v>20.5</c:v>
                </c:pt>
                <c:pt idx="200">
                  <c:v>15</c:v>
                </c:pt>
                <c:pt idx="201">
                  <c:v>9</c:v>
                </c:pt>
                <c:pt idx="202">
                  <c:v>23.5</c:v>
                </c:pt>
                <c:pt idx="203">
                  <c:v>15</c:v>
                </c:pt>
                <c:pt idx="204">
                  <c:v>9</c:v>
                </c:pt>
                <c:pt idx="205">
                  <c:v>22.5</c:v>
                </c:pt>
                <c:pt idx="206">
                  <c:v>15</c:v>
                </c:pt>
                <c:pt idx="207">
                  <c:v>8.5</c:v>
                </c:pt>
                <c:pt idx="208">
                  <c:v>24.5</c:v>
                </c:pt>
                <c:pt idx="209">
                  <c:v>6.5</c:v>
                </c:pt>
                <c:pt idx="210">
                  <c:v>15</c:v>
                </c:pt>
                <c:pt idx="211">
                  <c:v>8.5</c:v>
                </c:pt>
                <c:pt idx="212">
                  <c:v>24</c:v>
                </c:pt>
                <c:pt idx="213">
                  <c:v>15</c:v>
                </c:pt>
                <c:pt idx="214">
                  <c:v>9</c:v>
                </c:pt>
                <c:pt idx="215">
                  <c:v>24.5</c:v>
                </c:pt>
                <c:pt idx="216">
                  <c:v>6.5</c:v>
                </c:pt>
                <c:pt idx="217">
                  <c:v>10</c:v>
                </c:pt>
                <c:pt idx="218">
                  <c:v>14</c:v>
                </c:pt>
                <c:pt idx="219">
                  <c:v>15</c:v>
                </c:pt>
                <c:pt idx="220">
                  <c:v>8.5</c:v>
                </c:pt>
                <c:pt idx="221">
                  <c:v>5.5</c:v>
                </c:pt>
                <c:pt idx="222">
                  <c:v>24.5</c:v>
                </c:pt>
                <c:pt idx="223">
                  <c:v>6</c:v>
                </c:pt>
                <c:pt idx="224">
                  <c:v>9.5</c:v>
                </c:pt>
                <c:pt idx="225">
                  <c:v>13.5</c:v>
                </c:pt>
                <c:pt idx="226">
                  <c:v>15</c:v>
                </c:pt>
                <c:pt idx="227">
                  <c:v>8.5</c:v>
                </c:pt>
                <c:pt idx="228">
                  <c:v>10</c:v>
                </c:pt>
                <c:pt idx="229">
                  <c:v>6.5</c:v>
                </c:pt>
                <c:pt idx="230">
                  <c:v>10</c:v>
                </c:pt>
                <c:pt idx="231">
                  <c:v>19</c:v>
                </c:pt>
                <c:pt idx="232">
                  <c:v>6</c:v>
                </c:pt>
                <c:pt idx="233">
                  <c:v>10.5</c:v>
                </c:pt>
                <c:pt idx="234">
                  <c:v>11</c:v>
                </c:pt>
                <c:pt idx="235">
                  <c:v>15</c:v>
                </c:pt>
                <c:pt idx="236">
                  <c:v>8.5</c:v>
                </c:pt>
                <c:pt idx="237">
                  <c:v>10</c:v>
                </c:pt>
                <c:pt idx="238">
                  <c:v>6</c:v>
                </c:pt>
                <c:pt idx="239">
                  <c:v>10</c:v>
                </c:pt>
                <c:pt idx="240">
                  <c:v>24</c:v>
                </c:pt>
                <c:pt idx="241">
                  <c:v>6</c:v>
                </c:pt>
                <c:pt idx="242">
                  <c:v>10.5</c:v>
                </c:pt>
                <c:pt idx="243">
                  <c:v>13</c:v>
                </c:pt>
                <c:pt idx="244">
                  <c:v>15</c:v>
                </c:pt>
                <c:pt idx="245">
                  <c:v>8.5</c:v>
                </c:pt>
                <c:pt idx="246">
                  <c:v>10</c:v>
                </c:pt>
                <c:pt idx="247">
                  <c:v>6.5</c:v>
                </c:pt>
                <c:pt idx="248">
                  <c:v>10</c:v>
                </c:pt>
                <c:pt idx="249">
                  <c:v>24.5</c:v>
                </c:pt>
                <c:pt idx="250">
                  <c:v>6</c:v>
                </c:pt>
                <c:pt idx="251">
                  <c:v>10.5</c:v>
                </c:pt>
                <c:pt idx="252">
                  <c:v>14</c:v>
                </c:pt>
                <c:pt idx="253">
                  <c:v>10</c:v>
                </c:pt>
                <c:pt idx="254">
                  <c:v>10</c:v>
                </c:pt>
                <c:pt idx="255">
                  <c:v>10</c:v>
                </c:pt>
                <c:pt idx="256">
                  <c:v>10</c:v>
                </c:pt>
                <c:pt idx="257">
                  <c:v>14</c:v>
                </c:pt>
                <c:pt idx="258">
                  <c:v>10</c:v>
                </c:pt>
                <c:pt idx="259">
                  <c:v>10</c:v>
                </c:pt>
                <c:pt idx="260">
                  <c:v>24.5</c:v>
                </c:pt>
                <c:pt idx="261">
                  <c:v>10</c:v>
                </c:pt>
                <c:pt idx="262">
                  <c:v>10</c:v>
                </c:pt>
                <c:pt idx="263">
                  <c:v>10</c:v>
                </c:pt>
                <c:pt idx="264">
                  <c:v>6.5</c:v>
                </c:pt>
                <c:pt idx="265">
                  <c:v>10</c:v>
                </c:pt>
                <c:pt idx="266">
                  <c:v>6</c:v>
                </c:pt>
                <c:pt idx="267">
                  <c:v>10.5</c:v>
                </c:pt>
                <c:pt idx="268">
                  <c:v>14.5</c:v>
                </c:pt>
                <c:pt idx="269">
                  <c:v>10</c:v>
                </c:pt>
                <c:pt idx="270">
                  <c:v>6</c:v>
                </c:pt>
                <c:pt idx="271">
                  <c:v>10</c:v>
                </c:pt>
                <c:pt idx="272">
                  <c:v>24</c:v>
                </c:pt>
                <c:pt idx="273">
                  <c:v>5.5</c:v>
                </c:pt>
                <c:pt idx="274">
                  <c:v>10</c:v>
                </c:pt>
                <c:pt idx="275">
                  <c:v>12.5</c:v>
                </c:pt>
                <c:pt idx="276">
                  <c:v>10</c:v>
                </c:pt>
                <c:pt idx="277">
                  <c:v>6</c:v>
                </c:pt>
                <c:pt idx="278">
                  <c:v>10</c:v>
                </c:pt>
                <c:pt idx="279">
                  <c:v>24.5</c:v>
                </c:pt>
                <c:pt idx="280">
                  <c:v>6.5</c:v>
                </c:pt>
                <c:pt idx="281">
                  <c:v>6.5</c:v>
                </c:pt>
                <c:pt idx="282">
                  <c:v>10</c:v>
                </c:pt>
                <c:pt idx="283">
                  <c:v>14.5</c:v>
                </c:pt>
                <c:pt idx="284">
                  <c:v>13.5</c:v>
                </c:pt>
                <c:pt idx="285">
                  <c:v>10</c:v>
                </c:pt>
                <c:pt idx="286">
                  <c:v>10</c:v>
                </c:pt>
                <c:pt idx="287">
                  <c:v>24</c:v>
                </c:pt>
                <c:pt idx="288">
                  <c:v>6</c:v>
                </c:pt>
                <c:pt idx="289">
                  <c:v>7</c:v>
                </c:pt>
                <c:pt idx="290">
                  <c:v>7</c:v>
                </c:pt>
                <c:pt idx="291">
                  <c:v>24</c:v>
                </c:pt>
                <c:pt idx="292">
                  <c:v>24</c:v>
                </c:pt>
                <c:pt idx="293">
                  <c:v>14</c:v>
                </c:pt>
                <c:pt idx="294">
                  <c:v>6.5</c:v>
                </c:pt>
                <c:pt idx="295">
                  <c:v>9.5</c:v>
                </c:pt>
                <c:pt idx="296">
                  <c:v>6</c:v>
                </c:pt>
                <c:pt idx="297">
                  <c:v>13.5</c:v>
                </c:pt>
                <c:pt idx="298">
                  <c:v>25</c:v>
                </c:pt>
                <c:pt idx="299">
                  <c:v>6.5</c:v>
                </c:pt>
                <c:pt idx="300">
                  <c:v>10</c:v>
                </c:pt>
                <c:pt idx="301">
                  <c:v>9</c:v>
                </c:pt>
                <c:pt idx="302">
                  <c:v>15</c:v>
                </c:pt>
                <c:pt idx="303">
                  <c:v>6.5</c:v>
                </c:pt>
                <c:pt idx="304">
                  <c:v>9.5</c:v>
                </c:pt>
                <c:pt idx="305">
                  <c:v>6</c:v>
                </c:pt>
                <c:pt idx="306">
                  <c:v>14.5</c:v>
                </c:pt>
                <c:pt idx="307">
                  <c:v>21</c:v>
                </c:pt>
                <c:pt idx="308">
                  <c:v>6</c:v>
                </c:pt>
                <c:pt idx="309">
                  <c:v>10.5</c:v>
                </c:pt>
                <c:pt idx="310">
                  <c:v>8.5</c:v>
                </c:pt>
              </c:numCache>
            </c:numRef>
          </c:xVal>
          <c:yVal>
            <c:numRef>
              <c:f>Sheet1!$B$2:$B$312</c:f>
              <c:numCache>
                <c:formatCode>General</c:formatCode>
                <c:ptCount val="311"/>
                <c:pt idx="0">
                  <c:v>0</c:v>
                </c:pt>
                <c:pt idx="1">
                  <c:v>0</c:v>
                </c:pt>
                <c:pt idx="2">
                  <c:v>0</c:v>
                </c:pt>
                <c:pt idx="3">
                  <c:v>0</c:v>
                </c:pt>
                <c:pt idx="4">
                  <c:v>0</c:v>
                </c:pt>
                <c:pt idx="5">
                  <c:v>0</c:v>
                </c:pt>
                <c:pt idx="6">
                  <c:v>0</c:v>
                </c:pt>
                <c:pt idx="7">
                  <c:v>0</c:v>
                </c:pt>
                <c:pt idx="8">
                  <c:v>0</c:v>
                </c:pt>
                <c:pt idx="9">
                  <c:v>0</c:v>
                </c:pt>
                <c:pt idx="10">
                  <c:v>0</c:v>
                </c:pt>
                <c:pt idx="11">
                  <c:v>0.1075739850080159</c:v>
                </c:pt>
                <c:pt idx="12">
                  <c:v>0</c:v>
                </c:pt>
                <c:pt idx="13">
                  <c:v>1.511465339210143E-2</c:v>
                </c:pt>
                <c:pt idx="14">
                  <c:v>0</c:v>
                </c:pt>
                <c:pt idx="15">
                  <c:v>4.2928911239096292E-2</c:v>
                </c:pt>
                <c:pt idx="16">
                  <c:v>0</c:v>
                </c:pt>
                <c:pt idx="17">
                  <c:v>0.12924172747363891</c:v>
                </c:pt>
                <c:pt idx="18">
                  <c:v>0</c:v>
                </c:pt>
                <c:pt idx="19">
                  <c:v>0</c:v>
                </c:pt>
                <c:pt idx="20">
                  <c:v>4.9114348672794912E-2</c:v>
                </c:pt>
                <c:pt idx="21">
                  <c:v>0</c:v>
                </c:pt>
                <c:pt idx="22">
                  <c:v>8.9179428686614243E-2</c:v>
                </c:pt>
                <c:pt idx="23">
                  <c:v>0</c:v>
                </c:pt>
                <c:pt idx="24">
                  <c:v>0</c:v>
                </c:pt>
                <c:pt idx="25">
                  <c:v>2.389419490227571E-2</c:v>
                </c:pt>
                <c:pt idx="26">
                  <c:v>0</c:v>
                </c:pt>
                <c:pt idx="27">
                  <c:v>1.8823908838789379E-2</c:v>
                </c:pt>
                <c:pt idx="28">
                  <c:v>0</c:v>
                </c:pt>
                <c:pt idx="29">
                  <c:v>0</c:v>
                </c:pt>
                <c:pt idx="30">
                  <c:v>3.4681866912813802E-2</c:v>
                </c:pt>
                <c:pt idx="31">
                  <c:v>0</c:v>
                </c:pt>
                <c:pt idx="32">
                  <c:v>4.4997333996871877E-2</c:v>
                </c:pt>
                <c:pt idx="33">
                  <c:v>1.5174586903428671E-2</c:v>
                </c:pt>
                <c:pt idx="34">
                  <c:v>0</c:v>
                </c:pt>
                <c:pt idx="35">
                  <c:v>0</c:v>
                </c:pt>
                <c:pt idx="36">
                  <c:v>0</c:v>
                </c:pt>
                <c:pt idx="37">
                  <c:v>6.8489152641307519E-2</c:v>
                </c:pt>
                <c:pt idx="38">
                  <c:v>0</c:v>
                </c:pt>
                <c:pt idx="39">
                  <c:v>0</c:v>
                </c:pt>
                <c:pt idx="40">
                  <c:v>0</c:v>
                </c:pt>
                <c:pt idx="41">
                  <c:v>1.1495774739492599E-2</c:v>
                </c:pt>
                <c:pt idx="42">
                  <c:v>0</c:v>
                </c:pt>
                <c:pt idx="43">
                  <c:v>0</c:v>
                </c:pt>
                <c:pt idx="44">
                  <c:v>0</c:v>
                </c:pt>
                <c:pt idx="45">
                  <c:v>0</c:v>
                </c:pt>
                <c:pt idx="46">
                  <c:v>2.5666582684389171E-2</c:v>
                </c:pt>
                <c:pt idx="47">
                  <c:v>0</c:v>
                </c:pt>
                <c:pt idx="48">
                  <c:v>0</c:v>
                </c:pt>
                <c:pt idx="49">
                  <c:v>0</c:v>
                </c:pt>
                <c:pt idx="50">
                  <c:v>0</c:v>
                </c:pt>
                <c:pt idx="51">
                  <c:v>0</c:v>
                </c:pt>
                <c:pt idx="52">
                  <c:v>0</c:v>
                </c:pt>
                <c:pt idx="53">
                  <c:v>0</c:v>
                </c:pt>
                <c:pt idx="54">
                  <c:v>0</c:v>
                </c:pt>
                <c:pt idx="55">
                  <c:v>0</c:v>
                </c:pt>
                <c:pt idx="56">
                  <c:v>0</c:v>
                </c:pt>
                <c:pt idx="57">
                  <c:v>3.2344375495060432E-2</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61343300703579084</c:v>
                </c:pt>
                <c:pt idx="84">
                  <c:v>0</c:v>
                </c:pt>
                <c:pt idx="85">
                  <c:v>0</c:v>
                </c:pt>
                <c:pt idx="86">
                  <c:v>0.66535516966160668</c:v>
                </c:pt>
                <c:pt idx="87">
                  <c:v>0.27055852215326892</c:v>
                </c:pt>
                <c:pt idx="88">
                  <c:v>0.87388193202146691</c:v>
                </c:pt>
                <c:pt idx="89">
                  <c:v>0.58664971314511916</c:v>
                </c:pt>
                <c:pt idx="90">
                  <c:v>0.35530624225425611</c:v>
                </c:pt>
                <c:pt idx="91">
                  <c:v>0</c:v>
                </c:pt>
                <c:pt idx="92">
                  <c:v>0.118202886940101</c:v>
                </c:pt>
                <c:pt idx="93">
                  <c:v>0.35411594345179648</c:v>
                </c:pt>
                <c:pt idx="94">
                  <c:v>0.40657113909393539</c:v>
                </c:pt>
                <c:pt idx="95">
                  <c:v>0.53240658421394194</c:v>
                </c:pt>
                <c:pt idx="96">
                  <c:v>6.6735813081228716</c:v>
                </c:pt>
                <c:pt idx="97">
                  <c:v>9.6100644010672305</c:v>
                </c:pt>
                <c:pt idx="98">
                  <c:v>0</c:v>
                </c:pt>
                <c:pt idx="99">
                  <c:v>3.6064811690697382E-3</c:v>
                </c:pt>
                <c:pt idx="100">
                  <c:v>0</c:v>
                </c:pt>
                <c:pt idx="101">
                  <c:v>0</c:v>
                </c:pt>
                <c:pt idx="102">
                  <c:v>0</c:v>
                </c:pt>
                <c:pt idx="103">
                  <c:v>0</c:v>
                </c:pt>
                <c:pt idx="104">
                  <c:v>0</c:v>
                </c:pt>
                <c:pt idx="105">
                  <c:v>0</c:v>
                </c:pt>
                <c:pt idx="106">
                  <c:v>0</c:v>
                </c:pt>
                <c:pt idx="107">
                  <c:v>0</c:v>
                </c:pt>
                <c:pt idx="108">
                  <c:v>0</c:v>
                </c:pt>
                <c:pt idx="109">
                  <c:v>0.18428223887646261</c:v>
                </c:pt>
                <c:pt idx="110">
                  <c:v>0</c:v>
                </c:pt>
                <c:pt idx="111">
                  <c:v>0</c:v>
                </c:pt>
                <c:pt idx="112">
                  <c:v>0</c:v>
                </c:pt>
                <c:pt idx="113">
                  <c:v>0</c:v>
                </c:pt>
                <c:pt idx="114">
                  <c:v>0</c:v>
                </c:pt>
                <c:pt idx="115">
                  <c:v>0</c:v>
                </c:pt>
                <c:pt idx="116">
                  <c:v>4.4485855792578528E-2</c:v>
                </c:pt>
                <c:pt idx="117">
                  <c:v>0</c:v>
                </c:pt>
                <c:pt idx="118">
                  <c:v>0</c:v>
                </c:pt>
                <c:pt idx="119">
                  <c:v>0</c:v>
                </c:pt>
                <c:pt idx="120">
                  <c:v>0</c:v>
                </c:pt>
                <c:pt idx="121">
                  <c:v>0</c:v>
                </c:pt>
                <c:pt idx="122">
                  <c:v>1.074536469066999E-2</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1.208548268238762E-2</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4.4286341356353787E-2</c:v>
                </c:pt>
                <c:pt idx="273">
                  <c:v>0</c:v>
                </c:pt>
                <c:pt idx="274">
                  <c:v>0</c:v>
                </c:pt>
                <c:pt idx="275">
                  <c:v>0</c:v>
                </c:pt>
                <c:pt idx="276">
                  <c:v>0</c:v>
                </c:pt>
                <c:pt idx="277">
                  <c:v>0</c:v>
                </c:pt>
                <c:pt idx="278">
                  <c:v>0</c:v>
                </c:pt>
                <c:pt idx="279">
                  <c:v>9.5030221921740862E-2</c:v>
                </c:pt>
                <c:pt idx="280">
                  <c:v>0</c:v>
                </c:pt>
                <c:pt idx="281">
                  <c:v>8.4190832553788592E-2</c:v>
                </c:pt>
                <c:pt idx="282">
                  <c:v>0</c:v>
                </c:pt>
                <c:pt idx="283">
                  <c:v>0</c:v>
                </c:pt>
                <c:pt idx="284">
                  <c:v>1.9414048711613129E-2</c:v>
                </c:pt>
                <c:pt idx="285">
                  <c:v>0</c:v>
                </c:pt>
                <c:pt idx="286">
                  <c:v>0</c:v>
                </c:pt>
                <c:pt idx="287">
                  <c:v>0.15755358841173461</c:v>
                </c:pt>
                <c:pt idx="288">
                  <c:v>0.15608959402706479</c:v>
                </c:pt>
                <c:pt idx="289">
                  <c:v>7.0868639048581716</c:v>
                </c:pt>
                <c:pt idx="290">
                  <c:v>6.3668380332690564</c:v>
                </c:pt>
                <c:pt idx="291">
                  <c:v>2.6271937311515919E-3</c:v>
                </c:pt>
                <c:pt idx="292">
                  <c:v>1.6755574253260411E-2</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1</c:v>
                </c:pt>
                <c:pt idx="18">
                  <c:v>0</c:v>
                </c:pt>
                <c:pt idx="19">
                  <c:v>0.1</c:v>
                </c:pt>
                <c:pt idx="20">
                  <c:v>0.05</c:v>
                </c:pt>
                <c:pt idx="21">
                  <c:v>0.15</c:v>
                </c:pt>
                <c:pt idx="22">
                  <c:v>0.15</c:v>
                </c:pt>
                <c:pt idx="23">
                  <c:v>0.25</c:v>
                </c:pt>
                <c:pt idx="24">
                  <c:v>0.05</c:v>
                </c:pt>
                <c:pt idx="25">
                  <c:v>0.1</c:v>
                </c:pt>
                <c:pt idx="26">
                  <c:v>0.25</c:v>
                </c:pt>
                <c:pt idx="27">
                  <c:v>0.1</c:v>
                </c:pt>
                <c:pt idx="28">
                  <c:v>0.3</c:v>
                </c:pt>
                <c:pt idx="29">
                  <c:v>0.15</c:v>
                </c:pt>
                <c:pt idx="30">
                  <c:v>0.05</c:v>
                </c:pt>
                <c:pt idx="31">
                  <c:v>0.3</c:v>
                </c:pt>
                <c:pt idx="32">
                  <c:v>0.60000000000000009</c:v>
                </c:pt>
                <c:pt idx="33">
                  <c:v>0.1</c:v>
                </c:pt>
                <c:pt idx="34">
                  <c:v>0.65</c:v>
                </c:pt>
                <c:pt idx="35">
                  <c:v>0.05</c:v>
                </c:pt>
                <c:pt idx="36">
                  <c:v>0.1</c:v>
                </c:pt>
                <c:pt idx="37">
                  <c:v>0.1</c:v>
                </c:pt>
                <c:pt idx="38">
                  <c:v>0.1</c:v>
                </c:pt>
                <c:pt idx="39">
                  <c:v>0.1</c:v>
                </c:pt>
                <c:pt idx="40">
                  <c:v>0.1</c:v>
                </c:pt>
                <c:pt idx="41">
                  <c:v>0.05</c:v>
                </c:pt>
                <c:pt idx="42">
                  <c:v>0.1</c:v>
                </c:pt>
                <c:pt idx="43">
                  <c:v>0.1</c:v>
                </c:pt>
                <c:pt idx="44">
                  <c:v>0.1</c:v>
                </c:pt>
                <c:pt idx="45">
                  <c:v>0.1</c:v>
                </c:pt>
                <c:pt idx="46">
                  <c:v>0.05</c:v>
                </c:pt>
                <c:pt idx="47">
                  <c:v>0.1</c:v>
                </c:pt>
                <c:pt idx="48">
                  <c:v>0.1</c:v>
                </c:pt>
                <c:pt idx="49">
                  <c:v>0.1</c:v>
                </c:pt>
                <c:pt idx="50">
                  <c:v>0.1</c:v>
                </c:pt>
                <c:pt idx="51">
                  <c:v>0.05</c:v>
                </c:pt>
                <c:pt idx="52">
                  <c:v>0.1</c:v>
                </c:pt>
                <c:pt idx="53">
                  <c:v>0.1</c:v>
                </c:pt>
                <c:pt idx="54">
                  <c:v>0.1</c:v>
                </c:pt>
                <c:pt idx="55">
                  <c:v>0.1</c:v>
                </c:pt>
                <c:pt idx="56">
                  <c:v>0.1</c:v>
                </c:pt>
                <c:pt idx="57">
                  <c:v>0.1</c:v>
                </c:pt>
                <c:pt idx="58">
                  <c:v>0</c:v>
                </c:pt>
                <c:pt idx="59">
                  <c:v>0.1</c:v>
                </c:pt>
                <c:pt idx="60">
                  <c:v>0</c:v>
                </c:pt>
                <c:pt idx="61">
                  <c:v>0.1</c:v>
                </c:pt>
                <c:pt idx="62">
                  <c:v>0</c:v>
                </c:pt>
                <c:pt idx="63">
                  <c:v>0</c:v>
                </c:pt>
                <c:pt idx="64">
                  <c:v>0.1</c:v>
                </c:pt>
                <c:pt idx="65">
                  <c:v>0</c:v>
                </c:pt>
                <c:pt idx="66">
                  <c:v>0.1</c:v>
                </c:pt>
                <c:pt idx="67">
                  <c:v>0</c:v>
                </c:pt>
                <c:pt idx="68">
                  <c:v>0.1</c:v>
                </c:pt>
                <c:pt idx="69">
                  <c:v>0</c:v>
                </c:pt>
                <c:pt idx="70">
                  <c:v>0.15</c:v>
                </c:pt>
                <c:pt idx="71">
                  <c:v>0</c:v>
                </c:pt>
                <c:pt idx="72">
                  <c:v>0</c:v>
                </c:pt>
                <c:pt idx="73">
                  <c:v>0</c:v>
                </c:pt>
                <c:pt idx="74">
                  <c:v>0.05</c:v>
                </c:pt>
                <c:pt idx="75">
                  <c:v>0</c:v>
                </c:pt>
                <c:pt idx="76">
                  <c:v>0</c:v>
                </c:pt>
                <c:pt idx="77">
                  <c:v>0</c:v>
                </c:pt>
                <c:pt idx="78">
                  <c:v>0</c:v>
                </c:pt>
                <c:pt idx="79">
                  <c:v>0</c:v>
                </c:pt>
                <c:pt idx="80">
                  <c:v>0.05</c:v>
                </c:pt>
                <c:pt idx="81">
                  <c:v>0</c:v>
                </c:pt>
                <c:pt idx="82">
                  <c:v>0</c:v>
                </c:pt>
                <c:pt idx="83">
                  <c:v>0</c:v>
                </c:pt>
                <c:pt idx="84">
                  <c:v>0</c:v>
                </c:pt>
                <c:pt idx="85">
                  <c:v>0</c:v>
                </c:pt>
                <c:pt idx="86">
                  <c:v>0</c:v>
                </c:pt>
                <c:pt idx="87">
                  <c:v>0</c:v>
                </c:pt>
                <c:pt idx="88">
                  <c:v>0</c:v>
                </c:pt>
                <c:pt idx="89">
                  <c:v>0.1</c:v>
                </c:pt>
                <c:pt idx="90">
                  <c:v>0</c:v>
                </c:pt>
                <c:pt idx="91">
                  <c:v>0</c:v>
                </c:pt>
                <c:pt idx="92">
                  <c:v>0</c:v>
                </c:pt>
                <c:pt idx="93">
                  <c:v>0</c:v>
                </c:pt>
                <c:pt idx="94">
                  <c:v>0</c:v>
                </c:pt>
                <c:pt idx="95">
                  <c:v>0</c:v>
                </c:pt>
                <c:pt idx="96">
                  <c:v>0</c:v>
                </c:pt>
                <c:pt idx="97">
                  <c:v>0.05</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05</c:v>
                </c:pt>
                <c:pt idx="113">
                  <c:v>0</c:v>
                </c:pt>
                <c:pt idx="114">
                  <c:v>0</c:v>
                </c:pt>
                <c:pt idx="115">
                  <c:v>0.05</c:v>
                </c:pt>
                <c:pt idx="116">
                  <c:v>0</c:v>
                </c:pt>
                <c:pt idx="117">
                  <c:v>0.25</c:v>
                </c:pt>
                <c:pt idx="118">
                  <c:v>0</c:v>
                </c:pt>
                <c:pt idx="119">
                  <c:v>0</c:v>
                </c:pt>
                <c:pt idx="120">
                  <c:v>0.3</c:v>
                </c:pt>
                <c:pt idx="121">
                  <c:v>0</c:v>
                </c:pt>
                <c:pt idx="122">
                  <c:v>0</c:v>
                </c:pt>
                <c:pt idx="123">
                  <c:v>0</c:v>
                </c:pt>
                <c:pt idx="124">
                  <c:v>0</c:v>
                </c:pt>
                <c:pt idx="125">
                  <c:v>0.05</c:v>
                </c:pt>
                <c:pt idx="126">
                  <c:v>0</c:v>
                </c:pt>
                <c:pt idx="127">
                  <c:v>0</c:v>
                </c:pt>
                <c:pt idx="128">
                  <c:v>0</c:v>
                </c:pt>
                <c:pt idx="129">
                  <c:v>0</c:v>
                </c:pt>
                <c:pt idx="130">
                  <c:v>0</c:v>
                </c:pt>
                <c:pt idx="131">
                  <c:v>0</c:v>
                </c:pt>
                <c:pt idx="132">
                  <c:v>0</c:v>
                </c:pt>
                <c:pt idx="133">
                  <c:v>0</c:v>
                </c:pt>
                <c:pt idx="134">
                  <c:v>0</c:v>
                </c:pt>
                <c:pt idx="135">
                  <c:v>0.15</c:v>
                </c:pt>
                <c:pt idx="136">
                  <c:v>0</c:v>
                </c:pt>
                <c:pt idx="137">
                  <c:v>0</c:v>
                </c:pt>
                <c:pt idx="138">
                  <c:v>0.2</c:v>
                </c:pt>
                <c:pt idx="139">
                  <c:v>0.05</c:v>
                </c:pt>
              </c:numCache>
            </c:numRef>
          </c:xVal>
          <c:yVal>
            <c:numRef>
              <c:f>Sheet1!$B$2:$B$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4.0487285410525882E-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2.6039775730140859E-2</c:v>
                </c:pt>
                <c:pt idx="52">
                  <c:v>0.13263436918561239</c:v>
                </c:pt>
                <c:pt idx="53">
                  <c:v>0.13587093257650229</c:v>
                </c:pt>
                <c:pt idx="54">
                  <c:v>0</c:v>
                </c:pt>
                <c:pt idx="55">
                  <c:v>0.1014771618985696</c:v>
                </c:pt>
                <c:pt idx="56">
                  <c:v>0</c:v>
                </c:pt>
                <c:pt idx="57">
                  <c:v>0.22680211279878809</c:v>
                </c:pt>
                <c:pt idx="58">
                  <c:v>0</c:v>
                </c:pt>
                <c:pt idx="59">
                  <c:v>0.18786299617503269</c:v>
                </c:pt>
                <c:pt idx="60">
                  <c:v>0</c:v>
                </c:pt>
                <c:pt idx="61">
                  <c:v>0.13604560749668199</c:v>
                </c:pt>
                <c:pt idx="62">
                  <c:v>0</c:v>
                </c:pt>
                <c:pt idx="63">
                  <c:v>0</c:v>
                </c:pt>
                <c:pt idx="64">
                  <c:v>0.20910067712132019</c:v>
                </c:pt>
                <c:pt idx="65">
                  <c:v>0</c:v>
                </c:pt>
                <c:pt idx="66">
                  <c:v>0.16867160794838021</c:v>
                </c:pt>
                <c:pt idx="67">
                  <c:v>0</c:v>
                </c:pt>
                <c:pt idx="68">
                  <c:v>9.6960278752240732E-3</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27296962627611893</c:v>
                </c:pt>
                <c:pt idx="118">
                  <c:v>0</c:v>
                </c:pt>
                <c:pt idx="119">
                  <c:v>0</c:v>
                </c:pt>
                <c:pt idx="120">
                  <c:v>0.17453825430309389</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15649360016511971</c:v>
                </c:pt>
                <c:pt idx="13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1</c:f>
              <c:numCache>
                <c:formatCode>General</c:formatCode>
                <c:ptCount val="140"/>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7.5</c:v>
                </c:pt>
                <c:pt idx="18">
                  <c:v>5.5</c:v>
                </c:pt>
                <c:pt idx="19">
                  <c:v>7.5</c:v>
                </c:pt>
                <c:pt idx="20">
                  <c:v>5.5</c:v>
                </c:pt>
                <c:pt idx="21">
                  <c:v>14</c:v>
                </c:pt>
                <c:pt idx="22">
                  <c:v>7.5</c:v>
                </c:pt>
                <c:pt idx="23">
                  <c:v>3</c:v>
                </c:pt>
                <c:pt idx="24">
                  <c:v>5.5</c:v>
                </c:pt>
                <c:pt idx="25">
                  <c:v>8</c:v>
                </c:pt>
                <c:pt idx="26">
                  <c:v>3</c:v>
                </c:pt>
                <c:pt idx="27">
                  <c:v>7.5</c:v>
                </c:pt>
                <c:pt idx="28">
                  <c:v>3</c:v>
                </c:pt>
                <c:pt idx="29">
                  <c:v>7.5</c:v>
                </c:pt>
                <c:pt idx="30">
                  <c:v>5.5</c:v>
                </c:pt>
                <c:pt idx="31">
                  <c:v>3</c:v>
                </c:pt>
                <c:pt idx="32">
                  <c:v>1.5</c:v>
                </c:pt>
                <c:pt idx="33">
                  <c:v>7.5</c:v>
                </c:pt>
                <c:pt idx="34">
                  <c:v>1.5</c:v>
                </c:pt>
                <c:pt idx="35">
                  <c:v>5.5</c:v>
                </c:pt>
                <c:pt idx="36">
                  <c:v>5.5</c:v>
                </c:pt>
                <c:pt idx="37">
                  <c:v>3.5</c:v>
                </c:pt>
                <c:pt idx="38">
                  <c:v>7.5</c:v>
                </c:pt>
                <c:pt idx="39">
                  <c:v>5.5</c:v>
                </c:pt>
                <c:pt idx="40">
                  <c:v>3.5</c:v>
                </c:pt>
                <c:pt idx="41">
                  <c:v>5.5</c:v>
                </c:pt>
                <c:pt idx="42">
                  <c:v>8</c:v>
                </c:pt>
                <c:pt idx="43">
                  <c:v>5.5</c:v>
                </c:pt>
                <c:pt idx="44">
                  <c:v>3.5</c:v>
                </c:pt>
                <c:pt idx="45">
                  <c:v>7.5</c:v>
                </c:pt>
                <c:pt idx="46">
                  <c:v>5.5</c:v>
                </c:pt>
                <c:pt idx="47">
                  <c:v>7.5</c:v>
                </c:pt>
                <c:pt idx="48">
                  <c:v>7.5</c:v>
                </c:pt>
                <c:pt idx="49">
                  <c:v>7.5</c:v>
                </c:pt>
                <c:pt idx="50">
                  <c:v>8</c:v>
                </c:pt>
                <c:pt idx="51">
                  <c:v>1</c:v>
                </c:pt>
                <c:pt idx="52">
                  <c:v>1</c:v>
                </c:pt>
                <c:pt idx="53">
                  <c:v>1</c:v>
                </c:pt>
                <c:pt idx="54">
                  <c:v>7.5</c:v>
                </c:pt>
                <c:pt idx="55">
                  <c:v>1</c:v>
                </c:pt>
                <c:pt idx="56">
                  <c:v>7.5</c:v>
                </c:pt>
                <c:pt idx="57">
                  <c:v>1</c:v>
                </c:pt>
                <c:pt idx="58">
                  <c:v>5.5</c:v>
                </c:pt>
                <c:pt idx="59">
                  <c:v>1</c:v>
                </c:pt>
                <c:pt idx="60">
                  <c:v>5.5</c:v>
                </c:pt>
                <c:pt idx="61">
                  <c:v>1</c:v>
                </c:pt>
                <c:pt idx="62">
                  <c:v>4</c:v>
                </c:pt>
                <c:pt idx="63">
                  <c:v>5.5</c:v>
                </c:pt>
                <c:pt idx="64">
                  <c:v>1</c:v>
                </c:pt>
                <c:pt idx="65">
                  <c:v>5.5</c:v>
                </c:pt>
                <c:pt idx="66">
                  <c:v>1</c:v>
                </c:pt>
                <c:pt idx="67">
                  <c:v>5.5</c:v>
                </c:pt>
                <c:pt idx="68">
                  <c:v>1</c:v>
                </c:pt>
                <c:pt idx="69">
                  <c:v>5.5</c:v>
                </c:pt>
                <c:pt idx="70">
                  <c:v>14</c:v>
                </c:pt>
                <c:pt idx="71">
                  <c:v>5.5</c:v>
                </c:pt>
                <c:pt idx="72">
                  <c:v>4</c:v>
                </c:pt>
                <c:pt idx="73">
                  <c:v>5.5</c:v>
                </c:pt>
                <c:pt idx="74">
                  <c:v>4</c:v>
                </c:pt>
                <c:pt idx="75">
                  <c:v>5.5</c:v>
                </c:pt>
                <c:pt idx="76">
                  <c:v>2</c:v>
                </c:pt>
                <c:pt idx="77">
                  <c:v>4</c:v>
                </c:pt>
                <c:pt idx="78">
                  <c:v>5.5</c:v>
                </c:pt>
                <c:pt idx="79">
                  <c:v>2</c:v>
                </c:pt>
                <c:pt idx="80">
                  <c:v>6</c:v>
                </c:pt>
                <c:pt idx="81">
                  <c:v>5.5</c:v>
                </c:pt>
                <c:pt idx="82">
                  <c:v>2</c:v>
                </c:pt>
                <c:pt idx="83">
                  <c:v>5.5</c:v>
                </c:pt>
                <c:pt idx="84">
                  <c:v>5.5</c:v>
                </c:pt>
                <c:pt idx="85">
                  <c:v>5.5</c:v>
                </c:pt>
                <c:pt idx="86">
                  <c:v>2</c:v>
                </c:pt>
                <c:pt idx="87">
                  <c:v>5.5</c:v>
                </c:pt>
                <c:pt idx="88">
                  <c:v>5.5</c:v>
                </c:pt>
                <c:pt idx="89">
                  <c:v>14</c:v>
                </c:pt>
                <c:pt idx="90">
                  <c:v>5.5</c:v>
                </c:pt>
                <c:pt idx="91">
                  <c:v>5.5</c:v>
                </c:pt>
                <c:pt idx="92">
                  <c:v>6</c:v>
                </c:pt>
                <c:pt idx="93">
                  <c:v>5.5</c:v>
                </c:pt>
                <c:pt idx="94">
                  <c:v>6</c:v>
                </c:pt>
                <c:pt idx="95">
                  <c:v>5.5</c:v>
                </c:pt>
                <c:pt idx="96">
                  <c:v>5.5</c:v>
                </c:pt>
                <c:pt idx="97">
                  <c:v>8</c:v>
                </c:pt>
                <c:pt idx="98">
                  <c:v>5.5</c:v>
                </c:pt>
                <c:pt idx="99">
                  <c:v>2</c:v>
                </c:pt>
                <c:pt idx="100">
                  <c:v>6</c:v>
                </c:pt>
                <c:pt idx="101">
                  <c:v>5.5</c:v>
                </c:pt>
                <c:pt idx="102">
                  <c:v>6</c:v>
                </c:pt>
                <c:pt idx="103">
                  <c:v>5.5</c:v>
                </c:pt>
                <c:pt idx="104">
                  <c:v>5.5</c:v>
                </c:pt>
                <c:pt idx="105">
                  <c:v>6</c:v>
                </c:pt>
                <c:pt idx="106">
                  <c:v>5.5</c:v>
                </c:pt>
                <c:pt idx="107">
                  <c:v>6</c:v>
                </c:pt>
                <c:pt idx="108">
                  <c:v>5.5</c:v>
                </c:pt>
                <c:pt idx="109">
                  <c:v>2</c:v>
                </c:pt>
                <c:pt idx="110">
                  <c:v>5.5</c:v>
                </c:pt>
                <c:pt idx="111">
                  <c:v>2</c:v>
                </c:pt>
                <c:pt idx="112">
                  <c:v>5</c:v>
                </c:pt>
                <c:pt idx="113">
                  <c:v>2</c:v>
                </c:pt>
                <c:pt idx="114">
                  <c:v>2</c:v>
                </c:pt>
                <c:pt idx="115">
                  <c:v>5.5</c:v>
                </c:pt>
                <c:pt idx="116">
                  <c:v>2</c:v>
                </c:pt>
                <c:pt idx="117">
                  <c:v>11.5</c:v>
                </c:pt>
                <c:pt idx="118">
                  <c:v>5.5</c:v>
                </c:pt>
                <c:pt idx="119">
                  <c:v>2</c:v>
                </c:pt>
                <c:pt idx="120">
                  <c:v>11</c:v>
                </c:pt>
                <c:pt idx="121">
                  <c:v>5.5</c:v>
                </c:pt>
                <c:pt idx="122">
                  <c:v>2</c:v>
                </c:pt>
                <c:pt idx="123">
                  <c:v>2</c:v>
                </c:pt>
                <c:pt idx="124">
                  <c:v>5.5</c:v>
                </c:pt>
                <c:pt idx="125">
                  <c:v>5.5</c:v>
                </c:pt>
                <c:pt idx="126">
                  <c:v>5.5</c:v>
                </c:pt>
                <c:pt idx="127">
                  <c:v>5.5</c:v>
                </c:pt>
                <c:pt idx="128">
                  <c:v>5.5</c:v>
                </c:pt>
                <c:pt idx="129">
                  <c:v>5.5</c:v>
                </c:pt>
                <c:pt idx="130">
                  <c:v>5.5</c:v>
                </c:pt>
                <c:pt idx="131">
                  <c:v>5.5</c:v>
                </c:pt>
                <c:pt idx="132">
                  <c:v>5.5</c:v>
                </c:pt>
                <c:pt idx="133">
                  <c:v>5.5</c:v>
                </c:pt>
                <c:pt idx="134">
                  <c:v>5.5</c:v>
                </c:pt>
                <c:pt idx="135">
                  <c:v>7.5</c:v>
                </c:pt>
                <c:pt idx="136">
                  <c:v>5.5</c:v>
                </c:pt>
                <c:pt idx="137">
                  <c:v>5.5</c:v>
                </c:pt>
                <c:pt idx="138">
                  <c:v>16</c:v>
                </c:pt>
                <c:pt idx="139">
                  <c:v>8</c:v>
                </c:pt>
              </c:numCache>
            </c:numRef>
          </c:xVal>
          <c:yVal>
            <c:numRef>
              <c:f>Sheet1!$B$2:$B$141</c:f>
              <c:numCache>
                <c:formatCode>General</c:formatCode>
                <c:ptCount val="14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4.0487285410525882E-2</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2.6039775730140859E-2</c:v>
                </c:pt>
                <c:pt idx="52">
                  <c:v>0.13263436918561239</c:v>
                </c:pt>
                <c:pt idx="53">
                  <c:v>0.13587093257650229</c:v>
                </c:pt>
                <c:pt idx="54">
                  <c:v>0</c:v>
                </c:pt>
                <c:pt idx="55">
                  <c:v>0.1014771618985696</c:v>
                </c:pt>
                <c:pt idx="56">
                  <c:v>0</c:v>
                </c:pt>
                <c:pt idx="57">
                  <c:v>0.22680211279878809</c:v>
                </c:pt>
                <c:pt idx="58">
                  <c:v>0</c:v>
                </c:pt>
                <c:pt idx="59">
                  <c:v>0.18786299617503269</c:v>
                </c:pt>
                <c:pt idx="60">
                  <c:v>0</c:v>
                </c:pt>
                <c:pt idx="61">
                  <c:v>0.13604560749668199</c:v>
                </c:pt>
                <c:pt idx="62">
                  <c:v>0</c:v>
                </c:pt>
                <c:pt idx="63">
                  <c:v>0</c:v>
                </c:pt>
                <c:pt idx="64">
                  <c:v>0.20910067712132019</c:v>
                </c:pt>
                <c:pt idx="65">
                  <c:v>0</c:v>
                </c:pt>
                <c:pt idx="66">
                  <c:v>0.16867160794838021</c:v>
                </c:pt>
                <c:pt idx="67">
                  <c:v>0</c:v>
                </c:pt>
                <c:pt idx="68">
                  <c:v>9.6960278752240732E-3</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27296962627611893</c:v>
                </c:pt>
                <c:pt idx="118">
                  <c:v>0</c:v>
                </c:pt>
                <c:pt idx="119">
                  <c:v>0</c:v>
                </c:pt>
                <c:pt idx="120">
                  <c:v>0.17453825430309389</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15649360016511971</c:v>
                </c:pt>
                <c:pt idx="13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515E-2</c:v>
                </c:pt>
                <c:pt idx="1">
                  <c:v>-1.7983837495581301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2</c:v>
                </c:pt>
                <c:pt idx="20">
                  <c:v>0.15</c:v>
                </c:pt>
                <c:pt idx="21">
                  <c:v>0</c:v>
                </c:pt>
                <c:pt idx="22">
                  <c:v>0</c:v>
                </c:pt>
                <c:pt idx="23">
                  <c:v>0.25</c:v>
                </c:pt>
                <c:pt idx="24">
                  <c:v>0.2</c:v>
                </c:pt>
                <c:pt idx="25">
                  <c:v>0</c:v>
                </c:pt>
                <c:pt idx="26">
                  <c:v>0.65</c:v>
                </c:pt>
                <c:pt idx="27">
                  <c:v>0.70000000000000007</c:v>
                </c:pt>
                <c:pt idx="28">
                  <c:v>0.70000000000000007</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2</c:v>
                </c:pt>
                <c:pt idx="20">
                  <c:v>15</c:v>
                </c:pt>
                <c:pt idx="21">
                  <c:v>15</c:v>
                </c:pt>
                <c:pt idx="22">
                  <c:v>15</c:v>
                </c:pt>
                <c:pt idx="23">
                  <c:v>11.5</c:v>
                </c:pt>
                <c:pt idx="24">
                  <c:v>14</c:v>
                </c:pt>
                <c:pt idx="25">
                  <c:v>15</c:v>
                </c:pt>
                <c:pt idx="26">
                  <c:v>5</c:v>
                </c:pt>
                <c:pt idx="27">
                  <c:v>4.5</c:v>
                </c:pt>
                <c:pt idx="28">
                  <c:v>4.5</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2</c:f>
              <c:numCache>
                <c:formatCode>General</c:formatCode>
                <c:ptCount val="161"/>
                <c:pt idx="0">
                  <c:v>0</c:v>
                </c:pt>
                <c:pt idx="1">
                  <c:v>0.55000000000000004</c:v>
                </c:pt>
                <c:pt idx="2">
                  <c:v>0.05</c:v>
                </c:pt>
                <c:pt idx="3">
                  <c:v>0.05</c:v>
                </c:pt>
                <c:pt idx="4">
                  <c:v>0.05</c:v>
                </c:pt>
                <c:pt idx="5">
                  <c:v>0.05</c:v>
                </c:pt>
                <c:pt idx="6">
                  <c:v>0.05</c:v>
                </c:pt>
                <c:pt idx="7">
                  <c:v>0.25</c:v>
                </c:pt>
                <c:pt idx="8">
                  <c:v>0.05</c:v>
                </c:pt>
                <c:pt idx="9">
                  <c:v>0.1</c:v>
                </c:pt>
                <c:pt idx="10">
                  <c:v>0</c:v>
                </c:pt>
                <c:pt idx="11">
                  <c:v>0</c:v>
                </c:pt>
                <c:pt idx="12">
                  <c:v>0.05</c:v>
                </c:pt>
                <c:pt idx="13">
                  <c:v>0.05</c:v>
                </c:pt>
                <c:pt idx="14">
                  <c:v>0.15</c:v>
                </c:pt>
                <c:pt idx="15">
                  <c:v>0.05</c:v>
                </c:pt>
                <c:pt idx="16">
                  <c:v>0.1</c:v>
                </c:pt>
                <c:pt idx="17">
                  <c:v>0</c:v>
                </c:pt>
                <c:pt idx="18">
                  <c:v>0.05</c:v>
                </c:pt>
                <c:pt idx="19">
                  <c:v>0.4</c:v>
                </c:pt>
                <c:pt idx="20">
                  <c:v>0</c:v>
                </c:pt>
                <c:pt idx="21">
                  <c:v>0.1</c:v>
                </c:pt>
                <c:pt idx="22">
                  <c:v>0.2</c:v>
                </c:pt>
                <c:pt idx="23">
                  <c:v>0.05</c:v>
                </c:pt>
                <c:pt idx="24">
                  <c:v>0</c:v>
                </c:pt>
                <c:pt idx="25">
                  <c:v>0.05</c:v>
                </c:pt>
                <c:pt idx="26">
                  <c:v>0.3</c:v>
                </c:pt>
                <c:pt idx="27">
                  <c:v>0.1</c:v>
                </c:pt>
                <c:pt idx="28">
                  <c:v>0</c:v>
                </c:pt>
                <c:pt idx="29">
                  <c:v>0.05</c:v>
                </c:pt>
                <c:pt idx="30">
                  <c:v>0.1</c:v>
                </c:pt>
                <c:pt idx="31">
                  <c:v>0.05</c:v>
                </c:pt>
                <c:pt idx="32">
                  <c:v>0</c:v>
                </c:pt>
                <c:pt idx="33">
                  <c:v>0.15</c:v>
                </c:pt>
                <c:pt idx="34">
                  <c:v>0.3</c:v>
                </c:pt>
                <c:pt idx="35">
                  <c:v>0.1</c:v>
                </c:pt>
                <c:pt idx="36">
                  <c:v>0</c:v>
                </c:pt>
                <c:pt idx="37">
                  <c:v>0.05</c:v>
                </c:pt>
                <c:pt idx="38">
                  <c:v>0.2</c:v>
                </c:pt>
                <c:pt idx="39">
                  <c:v>0.05</c:v>
                </c:pt>
                <c:pt idx="40">
                  <c:v>0</c:v>
                </c:pt>
                <c:pt idx="41">
                  <c:v>0.1</c:v>
                </c:pt>
                <c:pt idx="42">
                  <c:v>0</c:v>
                </c:pt>
                <c:pt idx="43">
                  <c:v>0</c:v>
                </c:pt>
                <c:pt idx="44">
                  <c:v>0</c:v>
                </c:pt>
                <c:pt idx="45">
                  <c:v>0.15</c:v>
                </c:pt>
                <c:pt idx="46">
                  <c:v>0</c:v>
                </c:pt>
                <c:pt idx="47">
                  <c:v>0</c:v>
                </c:pt>
                <c:pt idx="48">
                  <c:v>0.5</c:v>
                </c:pt>
                <c:pt idx="49">
                  <c:v>0.65</c:v>
                </c:pt>
                <c:pt idx="50">
                  <c:v>0.60000000000000009</c:v>
                </c:pt>
                <c:pt idx="51">
                  <c:v>0</c:v>
                </c:pt>
                <c:pt idx="52">
                  <c:v>0.55000000000000004</c:v>
                </c:pt>
                <c:pt idx="53">
                  <c:v>0.65</c:v>
                </c:pt>
                <c:pt idx="54">
                  <c:v>0.60000000000000009</c:v>
                </c:pt>
                <c:pt idx="55">
                  <c:v>0.4</c:v>
                </c:pt>
                <c:pt idx="56">
                  <c:v>0.35</c:v>
                </c:pt>
                <c:pt idx="57">
                  <c:v>0.1</c:v>
                </c:pt>
                <c:pt idx="58">
                  <c:v>0</c:v>
                </c:pt>
                <c:pt idx="59">
                  <c:v>0.15</c:v>
                </c:pt>
                <c:pt idx="60">
                  <c:v>0</c:v>
                </c:pt>
                <c:pt idx="61">
                  <c:v>0.15</c:v>
                </c:pt>
                <c:pt idx="62">
                  <c:v>0.1</c:v>
                </c:pt>
                <c:pt idx="63">
                  <c:v>0</c:v>
                </c:pt>
                <c:pt idx="64">
                  <c:v>0.15</c:v>
                </c:pt>
                <c:pt idx="65">
                  <c:v>0.1</c:v>
                </c:pt>
                <c:pt idx="66">
                  <c:v>0</c:v>
                </c:pt>
                <c:pt idx="67">
                  <c:v>0.15</c:v>
                </c:pt>
                <c:pt idx="68">
                  <c:v>0.1</c:v>
                </c:pt>
                <c:pt idx="69">
                  <c:v>0</c:v>
                </c:pt>
                <c:pt idx="70">
                  <c:v>0.05</c:v>
                </c:pt>
                <c:pt idx="71">
                  <c:v>0</c:v>
                </c:pt>
                <c:pt idx="72">
                  <c:v>0.15</c:v>
                </c:pt>
                <c:pt idx="73">
                  <c:v>0</c:v>
                </c:pt>
                <c:pt idx="74">
                  <c:v>0.05</c:v>
                </c:pt>
                <c:pt idx="75">
                  <c:v>0</c:v>
                </c:pt>
                <c:pt idx="76">
                  <c:v>0.2</c:v>
                </c:pt>
                <c:pt idx="77">
                  <c:v>0</c:v>
                </c:pt>
                <c:pt idx="78">
                  <c:v>0.1</c:v>
                </c:pt>
                <c:pt idx="79">
                  <c:v>0</c:v>
                </c:pt>
                <c:pt idx="80">
                  <c:v>0.1</c:v>
                </c:pt>
                <c:pt idx="81">
                  <c:v>0.05</c:v>
                </c:pt>
                <c:pt idx="82">
                  <c:v>0</c:v>
                </c:pt>
                <c:pt idx="83">
                  <c:v>0.1</c:v>
                </c:pt>
                <c:pt idx="84">
                  <c:v>0</c:v>
                </c:pt>
                <c:pt idx="85">
                  <c:v>0</c:v>
                </c:pt>
                <c:pt idx="86">
                  <c:v>0.1</c:v>
                </c:pt>
                <c:pt idx="87">
                  <c:v>0.05</c:v>
                </c:pt>
                <c:pt idx="88">
                  <c:v>0</c:v>
                </c:pt>
                <c:pt idx="89">
                  <c:v>0.1</c:v>
                </c:pt>
                <c:pt idx="90">
                  <c:v>0.05</c:v>
                </c:pt>
                <c:pt idx="91">
                  <c:v>0</c:v>
                </c:pt>
                <c:pt idx="92">
                  <c:v>0.1</c:v>
                </c:pt>
                <c:pt idx="93">
                  <c:v>0.2</c:v>
                </c:pt>
                <c:pt idx="94">
                  <c:v>0</c:v>
                </c:pt>
                <c:pt idx="95">
                  <c:v>0.15</c:v>
                </c:pt>
                <c:pt idx="96">
                  <c:v>0.15</c:v>
                </c:pt>
                <c:pt idx="97">
                  <c:v>0</c:v>
                </c:pt>
                <c:pt idx="98">
                  <c:v>0.1</c:v>
                </c:pt>
                <c:pt idx="99">
                  <c:v>0.3</c:v>
                </c:pt>
                <c:pt idx="100">
                  <c:v>0</c:v>
                </c:pt>
                <c:pt idx="101">
                  <c:v>0.2</c:v>
                </c:pt>
                <c:pt idx="102">
                  <c:v>0.2</c:v>
                </c:pt>
                <c:pt idx="103">
                  <c:v>0</c:v>
                </c:pt>
                <c:pt idx="104">
                  <c:v>0.1</c:v>
                </c:pt>
                <c:pt idx="105">
                  <c:v>0.25</c:v>
                </c:pt>
                <c:pt idx="106">
                  <c:v>0</c:v>
                </c:pt>
                <c:pt idx="107">
                  <c:v>0.1</c:v>
                </c:pt>
                <c:pt idx="108">
                  <c:v>0.15</c:v>
                </c:pt>
                <c:pt idx="109">
                  <c:v>0</c:v>
                </c:pt>
                <c:pt idx="110">
                  <c:v>0.1</c:v>
                </c:pt>
                <c:pt idx="111">
                  <c:v>0.15</c:v>
                </c:pt>
                <c:pt idx="112">
                  <c:v>0</c:v>
                </c:pt>
                <c:pt idx="113">
                  <c:v>0.15</c:v>
                </c:pt>
                <c:pt idx="114">
                  <c:v>0.1</c:v>
                </c:pt>
                <c:pt idx="115">
                  <c:v>0</c:v>
                </c:pt>
                <c:pt idx="116">
                  <c:v>0.15</c:v>
                </c:pt>
                <c:pt idx="117">
                  <c:v>0.1</c:v>
                </c:pt>
                <c:pt idx="118">
                  <c:v>0</c:v>
                </c:pt>
                <c:pt idx="119">
                  <c:v>0.1</c:v>
                </c:pt>
                <c:pt idx="120">
                  <c:v>0.1</c:v>
                </c:pt>
                <c:pt idx="121">
                  <c:v>0</c:v>
                </c:pt>
                <c:pt idx="122">
                  <c:v>0.15</c:v>
                </c:pt>
                <c:pt idx="123">
                  <c:v>0.1</c:v>
                </c:pt>
                <c:pt idx="124">
                  <c:v>0</c:v>
                </c:pt>
                <c:pt idx="125">
                  <c:v>0.15</c:v>
                </c:pt>
                <c:pt idx="126">
                  <c:v>0</c:v>
                </c:pt>
                <c:pt idx="127">
                  <c:v>0.3</c:v>
                </c:pt>
                <c:pt idx="128">
                  <c:v>0</c:v>
                </c:pt>
                <c:pt idx="129">
                  <c:v>0.15</c:v>
                </c:pt>
                <c:pt idx="130">
                  <c:v>0</c:v>
                </c:pt>
                <c:pt idx="131">
                  <c:v>0.1</c:v>
                </c:pt>
                <c:pt idx="132">
                  <c:v>0</c:v>
                </c:pt>
                <c:pt idx="133">
                  <c:v>0.15</c:v>
                </c:pt>
                <c:pt idx="134">
                  <c:v>0</c:v>
                </c:pt>
                <c:pt idx="135">
                  <c:v>0.1</c:v>
                </c:pt>
                <c:pt idx="136">
                  <c:v>0</c:v>
                </c:pt>
                <c:pt idx="137">
                  <c:v>0</c:v>
                </c:pt>
                <c:pt idx="138">
                  <c:v>0.05</c:v>
                </c:pt>
                <c:pt idx="139">
                  <c:v>0</c:v>
                </c:pt>
                <c:pt idx="140">
                  <c:v>0.1</c:v>
                </c:pt>
                <c:pt idx="141">
                  <c:v>0</c:v>
                </c:pt>
                <c:pt idx="142">
                  <c:v>0</c:v>
                </c:pt>
                <c:pt idx="143">
                  <c:v>0</c:v>
                </c:pt>
                <c:pt idx="144">
                  <c:v>0.1</c:v>
                </c:pt>
                <c:pt idx="145">
                  <c:v>0</c:v>
                </c:pt>
                <c:pt idx="146">
                  <c:v>0.1</c:v>
                </c:pt>
                <c:pt idx="147">
                  <c:v>0.35</c:v>
                </c:pt>
                <c:pt idx="148">
                  <c:v>0.1</c:v>
                </c:pt>
                <c:pt idx="149">
                  <c:v>0</c:v>
                </c:pt>
                <c:pt idx="150">
                  <c:v>0.1</c:v>
                </c:pt>
                <c:pt idx="151">
                  <c:v>0.4</c:v>
                </c:pt>
                <c:pt idx="152">
                  <c:v>0.3</c:v>
                </c:pt>
                <c:pt idx="153">
                  <c:v>0.1</c:v>
                </c:pt>
                <c:pt idx="154">
                  <c:v>0.05</c:v>
                </c:pt>
                <c:pt idx="155">
                  <c:v>0</c:v>
                </c:pt>
                <c:pt idx="156">
                  <c:v>0.05</c:v>
                </c:pt>
                <c:pt idx="157">
                  <c:v>0</c:v>
                </c:pt>
                <c:pt idx="158">
                  <c:v>0</c:v>
                </c:pt>
                <c:pt idx="159">
                  <c:v>0.05</c:v>
                </c:pt>
                <c:pt idx="160">
                  <c:v>0.2</c:v>
                </c:pt>
              </c:numCache>
            </c:numRef>
          </c:xVal>
          <c:yVal>
            <c:numRef>
              <c:f>Sheet1!$B$2:$B$162</c:f>
              <c:numCache>
                <c:formatCode>General</c:formatCode>
                <c:ptCount val="16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66535516966160668</c:v>
                </c:pt>
                <c:pt idx="49">
                  <c:v>0.87388193202146691</c:v>
                </c:pt>
                <c:pt idx="50">
                  <c:v>0.58664971314511916</c:v>
                </c:pt>
                <c:pt idx="51">
                  <c:v>0</c:v>
                </c:pt>
                <c:pt idx="52">
                  <c:v>0.35411594345179648</c:v>
                </c:pt>
                <c:pt idx="53">
                  <c:v>0.40657113909393539</c:v>
                </c:pt>
                <c:pt idx="54">
                  <c:v>0.53240658421394194</c:v>
                </c:pt>
                <c:pt idx="55">
                  <c:v>6.6735813081228716</c:v>
                </c:pt>
                <c:pt idx="56">
                  <c:v>0</c:v>
                </c:pt>
                <c:pt idx="57">
                  <c:v>3.6064811690697382E-3</c:v>
                </c:pt>
                <c:pt idx="58">
                  <c:v>0</c:v>
                </c:pt>
                <c:pt idx="59">
                  <c:v>0</c:v>
                </c:pt>
                <c:pt idx="60">
                  <c:v>0</c:v>
                </c:pt>
                <c:pt idx="61">
                  <c:v>0</c:v>
                </c:pt>
                <c:pt idx="62">
                  <c:v>0.18428223887646261</c:v>
                </c:pt>
                <c:pt idx="63">
                  <c:v>0</c:v>
                </c:pt>
                <c:pt idx="64">
                  <c:v>0</c:v>
                </c:pt>
                <c:pt idx="65">
                  <c:v>4.4485855792578528E-2</c:v>
                </c:pt>
                <c:pt idx="66">
                  <c:v>0</c:v>
                </c:pt>
                <c:pt idx="67">
                  <c:v>0</c:v>
                </c:pt>
                <c:pt idx="68">
                  <c:v>1.074536469066999E-2</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1.208548268238762E-2</c:v>
                </c:pt>
                <c:pt idx="139">
                  <c:v>0</c:v>
                </c:pt>
                <c:pt idx="140">
                  <c:v>0</c:v>
                </c:pt>
                <c:pt idx="141">
                  <c:v>0</c:v>
                </c:pt>
                <c:pt idx="142">
                  <c:v>0</c:v>
                </c:pt>
                <c:pt idx="143">
                  <c:v>0</c:v>
                </c:pt>
                <c:pt idx="144">
                  <c:v>4.4286341356353787E-2</c:v>
                </c:pt>
                <c:pt idx="145">
                  <c:v>0</c:v>
                </c:pt>
                <c:pt idx="146">
                  <c:v>9.5030221921740862E-2</c:v>
                </c:pt>
                <c:pt idx="147">
                  <c:v>8.4190832553788592E-2</c:v>
                </c:pt>
                <c:pt idx="148">
                  <c:v>1.9414048711613129E-2</c:v>
                </c:pt>
                <c:pt idx="149">
                  <c:v>0</c:v>
                </c:pt>
                <c:pt idx="150">
                  <c:v>0.15755358841173461</c:v>
                </c:pt>
                <c:pt idx="151">
                  <c:v>0.15608959402706479</c:v>
                </c:pt>
                <c:pt idx="152">
                  <c:v>7.0868639048581716</c:v>
                </c:pt>
                <c:pt idx="153">
                  <c:v>2.6271937311515919E-3</c:v>
                </c:pt>
                <c:pt idx="154">
                  <c:v>1.6755574253260411E-2</c:v>
                </c:pt>
                <c:pt idx="155">
                  <c:v>0</c:v>
                </c:pt>
                <c:pt idx="156">
                  <c:v>0</c:v>
                </c:pt>
                <c:pt idx="157">
                  <c:v>0</c:v>
                </c:pt>
                <c:pt idx="158">
                  <c:v>0</c:v>
                </c:pt>
                <c:pt idx="159">
                  <c:v>0</c:v>
                </c:pt>
                <c:pt idx="160">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2</c:f>
              <c:numCache>
                <c:formatCode>General</c:formatCode>
                <c:ptCount val="161"/>
                <c:pt idx="0">
                  <c:v>14</c:v>
                </c:pt>
                <c:pt idx="1">
                  <c:v>13.5</c:v>
                </c:pt>
                <c:pt idx="2">
                  <c:v>9.5</c:v>
                </c:pt>
                <c:pt idx="3">
                  <c:v>13</c:v>
                </c:pt>
                <c:pt idx="4">
                  <c:v>27.5</c:v>
                </c:pt>
                <c:pt idx="5">
                  <c:v>9.5</c:v>
                </c:pt>
                <c:pt idx="6">
                  <c:v>13</c:v>
                </c:pt>
                <c:pt idx="7">
                  <c:v>21.5</c:v>
                </c:pt>
                <c:pt idx="8">
                  <c:v>9.5</c:v>
                </c:pt>
                <c:pt idx="9">
                  <c:v>12.5</c:v>
                </c:pt>
                <c:pt idx="10">
                  <c:v>29.5</c:v>
                </c:pt>
                <c:pt idx="11">
                  <c:v>10</c:v>
                </c:pt>
                <c:pt idx="12">
                  <c:v>13.5</c:v>
                </c:pt>
                <c:pt idx="13">
                  <c:v>27.5</c:v>
                </c:pt>
                <c:pt idx="14">
                  <c:v>8.5</c:v>
                </c:pt>
                <c:pt idx="15">
                  <c:v>13.5</c:v>
                </c:pt>
                <c:pt idx="16">
                  <c:v>27</c:v>
                </c:pt>
                <c:pt idx="17">
                  <c:v>10</c:v>
                </c:pt>
                <c:pt idx="18">
                  <c:v>13.5</c:v>
                </c:pt>
                <c:pt idx="19">
                  <c:v>18</c:v>
                </c:pt>
                <c:pt idx="20">
                  <c:v>10</c:v>
                </c:pt>
                <c:pt idx="21">
                  <c:v>13</c:v>
                </c:pt>
                <c:pt idx="22">
                  <c:v>24</c:v>
                </c:pt>
                <c:pt idx="23">
                  <c:v>9.5</c:v>
                </c:pt>
                <c:pt idx="24">
                  <c:v>10</c:v>
                </c:pt>
                <c:pt idx="25">
                  <c:v>13.5</c:v>
                </c:pt>
                <c:pt idx="26">
                  <c:v>20.5</c:v>
                </c:pt>
                <c:pt idx="27">
                  <c:v>9</c:v>
                </c:pt>
                <c:pt idx="28">
                  <c:v>10</c:v>
                </c:pt>
                <c:pt idx="29">
                  <c:v>13.5</c:v>
                </c:pt>
                <c:pt idx="30">
                  <c:v>27</c:v>
                </c:pt>
                <c:pt idx="31">
                  <c:v>9.5</c:v>
                </c:pt>
                <c:pt idx="32">
                  <c:v>10</c:v>
                </c:pt>
                <c:pt idx="33">
                  <c:v>12</c:v>
                </c:pt>
                <c:pt idx="34">
                  <c:v>21</c:v>
                </c:pt>
                <c:pt idx="35">
                  <c:v>9</c:v>
                </c:pt>
                <c:pt idx="36">
                  <c:v>10</c:v>
                </c:pt>
                <c:pt idx="37">
                  <c:v>13.5</c:v>
                </c:pt>
                <c:pt idx="38">
                  <c:v>23.5</c:v>
                </c:pt>
                <c:pt idx="39">
                  <c:v>9.5</c:v>
                </c:pt>
                <c:pt idx="40">
                  <c:v>10</c:v>
                </c:pt>
                <c:pt idx="41">
                  <c:v>27.5</c:v>
                </c:pt>
                <c:pt idx="42">
                  <c:v>10</c:v>
                </c:pt>
                <c:pt idx="43">
                  <c:v>10</c:v>
                </c:pt>
                <c:pt idx="44">
                  <c:v>10</c:v>
                </c:pt>
                <c:pt idx="45">
                  <c:v>8.5</c:v>
                </c:pt>
                <c:pt idx="46">
                  <c:v>10</c:v>
                </c:pt>
                <c:pt idx="47">
                  <c:v>10</c:v>
                </c:pt>
                <c:pt idx="48">
                  <c:v>6.5</c:v>
                </c:pt>
                <c:pt idx="49">
                  <c:v>5</c:v>
                </c:pt>
                <c:pt idx="50">
                  <c:v>4</c:v>
                </c:pt>
                <c:pt idx="51">
                  <c:v>10</c:v>
                </c:pt>
                <c:pt idx="52">
                  <c:v>6</c:v>
                </c:pt>
                <c:pt idx="53">
                  <c:v>4.5</c:v>
                </c:pt>
                <c:pt idx="54">
                  <c:v>4</c:v>
                </c:pt>
                <c:pt idx="55">
                  <c:v>6</c:v>
                </c:pt>
                <c:pt idx="56">
                  <c:v>6.5</c:v>
                </c:pt>
                <c:pt idx="57">
                  <c:v>27</c:v>
                </c:pt>
                <c:pt idx="58">
                  <c:v>15</c:v>
                </c:pt>
                <c:pt idx="59">
                  <c:v>8.5</c:v>
                </c:pt>
                <c:pt idx="60">
                  <c:v>15</c:v>
                </c:pt>
                <c:pt idx="61">
                  <c:v>8.5</c:v>
                </c:pt>
                <c:pt idx="62">
                  <c:v>27</c:v>
                </c:pt>
                <c:pt idx="63">
                  <c:v>15</c:v>
                </c:pt>
                <c:pt idx="64">
                  <c:v>8.5</c:v>
                </c:pt>
                <c:pt idx="65">
                  <c:v>27</c:v>
                </c:pt>
                <c:pt idx="66">
                  <c:v>15</c:v>
                </c:pt>
                <c:pt idx="67">
                  <c:v>8.5</c:v>
                </c:pt>
                <c:pt idx="68">
                  <c:v>27</c:v>
                </c:pt>
                <c:pt idx="69">
                  <c:v>15</c:v>
                </c:pt>
                <c:pt idx="70">
                  <c:v>9.5</c:v>
                </c:pt>
                <c:pt idx="71">
                  <c:v>15</c:v>
                </c:pt>
                <c:pt idx="72">
                  <c:v>8.5</c:v>
                </c:pt>
                <c:pt idx="73">
                  <c:v>15</c:v>
                </c:pt>
                <c:pt idx="74">
                  <c:v>9</c:v>
                </c:pt>
                <c:pt idx="75">
                  <c:v>15</c:v>
                </c:pt>
                <c:pt idx="76">
                  <c:v>8</c:v>
                </c:pt>
                <c:pt idx="77">
                  <c:v>15</c:v>
                </c:pt>
                <c:pt idx="78">
                  <c:v>8.5</c:v>
                </c:pt>
                <c:pt idx="79">
                  <c:v>15</c:v>
                </c:pt>
                <c:pt idx="80">
                  <c:v>9</c:v>
                </c:pt>
                <c:pt idx="81">
                  <c:v>26.5</c:v>
                </c:pt>
                <c:pt idx="82">
                  <c:v>15</c:v>
                </c:pt>
                <c:pt idx="83">
                  <c:v>9</c:v>
                </c:pt>
                <c:pt idx="84">
                  <c:v>26.5</c:v>
                </c:pt>
                <c:pt idx="85">
                  <c:v>15</c:v>
                </c:pt>
                <c:pt idx="86">
                  <c:v>9</c:v>
                </c:pt>
                <c:pt idx="87">
                  <c:v>25.5</c:v>
                </c:pt>
                <c:pt idx="88">
                  <c:v>15</c:v>
                </c:pt>
                <c:pt idx="89">
                  <c:v>9</c:v>
                </c:pt>
                <c:pt idx="90">
                  <c:v>26</c:v>
                </c:pt>
                <c:pt idx="91">
                  <c:v>15</c:v>
                </c:pt>
                <c:pt idx="92">
                  <c:v>9</c:v>
                </c:pt>
                <c:pt idx="93">
                  <c:v>21</c:v>
                </c:pt>
                <c:pt idx="94">
                  <c:v>15</c:v>
                </c:pt>
                <c:pt idx="95">
                  <c:v>8.5</c:v>
                </c:pt>
                <c:pt idx="96">
                  <c:v>23</c:v>
                </c:pt>
                <c:pt idx="97">
                  <c:v>15</c:v>
                </c:pt>
                <c:pt idx="98">
                  <c:v>9</c:v>
                </c:pt>
                <c:pt idx="99">
                  <c:v>19.5</c:v>
                </c:pt>
                <c:pt idx="100">
                  <c:v>15</c:v>
                </c:pt>
                <c:pt idx="101">
                  <c:v>8</c:v>
                </c:pt>
                <c:pt idx="102">
                  <c:v>22</c:v>
                </c:pt>
                <c:pt idx="103">
                  <c:v>15</c:v>
                </c:pt>
                <c:pt idx="104">
                  <c:v>9</c:v>
                </c:pt>
                <c:pt idx="105">
                  <c:v>20.5</c:v>
                </c:pt>
                <c:pt idx="106">
                  <c:v>15</c:v>
                </c:pt>
                <c:pt idx="107">
                  <c:v>9</c:v>
                </c:pt>
                <c:pt idx="108">
                  <c:v>23.5</c:v>
                </c:pt>
                <c:pt idx="109">
                  <c:v>15</c:v>
                </c:pt>
                <c:pt idx="110">
                  <c:v>9</c:v>
                </c:pt>
                <c:pt idx="111">
                  <c:v>22.5</c:v>
                </c:pt>
                <c:pt idx="112">
                  <c:v>15</c:v>
                </c:pt>
                <c:pt idx="113">
                  <c:v>8.5</c:v>
                </c:pt>
                <c:pt idx="114">
                  <c:v>24.5</c:v>
                </c:pt>
                <c:pt idx="115">
                  <c:v>15</c:v>
                </c:pt>
                <c:pt idx="116">
                  <c:v>8.5</c:v>
                </c:pt>
                <c:pt idx="117">
                  <c:v>24</c:v>
                </c:pt>
                <c:pt idx="118">
                  <c:v>15</c:v>
                </c:pt>
                <c:pt idx="119">
                  <c:v>9</c:v>
                </c:pt>
                <c:pt idx="120">
                  <c:v>24.5</c:v>
                </c:pt>
                <c:pt idx="121">
                  <c:v>15</c:v>
                </c:pt>
                <c:pt idx="122">
                  <c:v>8.5</c:v>
                </c:pt>
                <c:pt idx="123">
                  <c:v>24.5</c:v>
                </c:pt>
                <c:pt idx="124">
                  <c:v>15</c:v>
                </c:pt>
                <c:pt idx="125">
                  <c:v>8.5</c:v>
                </c:pt>
                <c:pt idx="126">
                  <c:v>10</c:v>
                </c:pt>
                <c:pt idx="127">
                  <c:v>19</c:v>
                </c:pt>
                <c:pt idx="128">
                  <c:v>15</c:v>
                </c:pt>
                <c:pt idx="129">
                  <c:v>8.5</c:v>
                </c:pt>
                <c:pt idx="130">
                  <c:v>10</c:v>
                </c:pt>
                <c:pt idx="131">
                  <c:v>24</c:v>
                </c:pt>
                <c:pt idx="132">
                  <c:v>15</c:v>
                </c:pt>
                <c:pt idx="133">
                  <c:v>8.5</c:v>
                </c:pt>
                <c:pt idx="134">
                  <c:v>10</c:v>
                </c:pt>
                <c:pt idx="135">
                  <c:v>24.5</c:v>
                </c:pt>
                <c:pt idx="136">
                  <c:v>10</c:v>
                </c:pt>
                <c:pt idx="137">
                  <c:v>10</c:v>
                </c:pt>
                <c:pt idx="138">
                  <c:v>14</c:v>
                </c:pt>
                <c:pt idx="139">
                  <c:v>10</c:v>
                </c:pt>
                <c:pt idx="140">
                  <c:v>24.5</c:v>
                </c:pt>
                <c:pt idx="141">
                  <c:v>10</c:v>
                </c:pt>
                <c:pt idx="142">
                  <c:v>10</c:v>
                </c:pt>
                <c:pt idx="143">
                  <c:v>10</c:v>
                </c:pt>
                <c:pt idx="144">
                  <c:v>24</c:v>
                </c:pt>
                <c:pt idx="145">
                  <c:v>10</c:v>
                </c:pt>
                <c:pt idx="146">
                  <c:v>24.5</c:v>
                </c:pt>
                <c:pt idx="147">
                  <c:v>6.5</c:v>
                </c:pt>
                <c:pt idx="148">
                  <c:v>13.5</c:v>
                </c:pt>
                <c:pt idx="149">
                  <c:v>10</c:v>
                </c:pt>
                <c:pt idx="150">
                  <c:v>24</c:v>
                </c:pt>
                <c:pt idx="151">
                  <c:v>6</c:v>
                </c:pt>
                <c:pt idx="152">
                  <c:v>7</c:v>
                </c:pt>
                <c:pt idx="153">
                  <c:v>24</c:v>
                </c:pt>
                <c:pt idx="154">
                  <c:v>24</c:v>
                </c:pt>
                <c:pt idx="155">
                  <c:v>14</c:v>
                </c:pt>
                <c:pt idx="156">
                  <c:v>9.5</c:v>
                </c:pt>
                <c:pt idx="157">
                  <c:v>25</c:v>
                </c:pt>
                <c:pt idx="158">
                  <c:v>15</c:v>
                </c:pt>
                <c:pt idx="159">
                  <c:v>9.5</c:v>
                </c:pt>
                <c:pt idx="160">
                  <c:v>21</c:v>
                </c:pt>
              </c:numCache>
            </c:numRef>
          </c:xVal>
          <c:yVal>
            <c:numRef>
              <c:f>Sheet1!$B$2:$B$162</c:f>
              <c:numCache>
                <c:formatCode>General</c:formatCode>
                <c:ptCount val="16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66535516966160668</c:v>
                </c:pt>
                <c:pt idx="49">
                  <c:v>0.87388193202146691</c:v>
                </c:pt>
                <c:pt idx="50">
                  <c:v>0.58664971314511916</c:v>
                </c:pt>
                <c:pt idx="51">
                  <c:v>0</c:v>
                </c:pt>
                <c:pt idx="52">
                  <c:v>0.35411594345179648</c:v>
                </c:pt>
                <c:pt idx="53">
                  <c:v>0.40657113909393539</c:v>
                </c:pt>
                <c:pt idx="54">
                  <c:v>0.53240658421394194</c:v>
                </c:pt>
                <c:pt idx="55">
                  <c:v>6.6735813081228716</c:v>
                </c:pt>
                <c:pt idx="56">
                  <c:v>0</c:v>
                </c:pt>
                <c:pt idx="57">
                  <c:v>3.6064811690697382E-3</c:v>
                </c:pt>
                <c:pt idx="58">
                  <c:v>0</c:v>
                </c:pt>
                <c:pt idx="59">
                  <c:v>0</c:v>
                </c:pt>
                <c:pt idx="60">
                  <c:v>0</c:v>
                </c:pt>
                <c:pt idx="61">
                  <c:v>0</c:v>
                </c:pt>
                <c:pt idx="62">
                  <c:v>0.18428223887646261</c:v>
                </c:pt>
                <c:pt idx="63">
                  <c:v>0</c:v>
                </c:pt>
                <c:pt idx="64">
                  <c:v>0</c:v>
                </c:pt>
                <c:pt idx="65">
                  <c:v>4.4485855792578528E-2</c:v>
                </c:pt>
                <c:pt idx="66">
                  <c:v>0</c:v>
                </c:pt>
                <c:pt idx="67">
                  <c:v>0</c:v>
                </c:pt>
                <c:pt idx="68">
                  <c:v>1.074536469066999E-2</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1.208548268238762E-2</c:v>
                </c:pt>
                <c:pt idx="139">
                  <c:v>0</c:v>
                </c:pt>
                <c:pt idx="140">
                  <c:v>0</c:v>
                </c:pt>
                <c:pt idx="141">
                  <c:v>0</c:v>
                </c:pt>
                <c:pt idx="142">
                  <c:v>0</c:v>
                </c:pt>
                <c:pt idx="143">
                  <c:v>0</c:v>
                </c:pt>
                <c:pt idx="144">
                  <c:v>4.4286341356353787E-2</c:v>
                </c:pt>
                <c:pt idx="145">
                  <c:v>0</c:v>
                </c:pt>
                <c:pt idx="146">
                  <c:v>9.5030221921740862E-2</c:v>
                </c:pt>
                <c:pt idx="147">
                  <c:v>8.4190832553788592E-2</c:v>
                </c:pt>
                <c:pt idx="148">
                  <c:v>1.9414048711613129E-2</c:v>
                </c:pt>
                <c:pt idx="149">
                  <c:v>0</c:v>
                </c:pt>
                <c:pt idx="150">
                  <c:v>0.15755358841173461</c:v>
                </c:pt>
                <c:pt idx="151">
                  <c:v>0.15608959402706479</c:v>
                </c:pt>
                <c:pt idx="152">
                  <c:v>7.0868639048581716</c:v>
                </c:pt>
                <c:pt idx="153">
                  <c:v>2.6271937311515919E-3</c:v>
                </c:pt>
                <c:pt idx="154">
                  <c:v>1.6755574253260411E-2</c:v>
                </c:pt>
                <c:pt idx="155">
                  <c:v>0</c:v>
                </c:pt>
                <c:pt idx="156">
                  <c:v>0</c:v>
                </c:pt>
                <c:pt idx="157">
                  <c:v>0</c:v>
                </c:pt>
                <c:pt idx="158">
                  <c:v>0</c:v>
                </c:pt>
                <c:pt idx="159">
                  <c:v>0</c:v>
                </c:pt>
                <c:pt idx="160">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6</c:f>
              <c:numCache>
                <c:formatCode>General</c:formatCode>
                <c:ptCount val="25"/>
                <c:pt idx="0">
                  <c:v>0.1</c:v>
                </c:pt>
                <c:pt idx="1">
                  <c:v>0.1</c:v>
                </c:pt>
                <c:pt idx="2">
                  <c:v>0.15</c:v>
                </c:pt>
                <c:pt idx="3">
                  <c:v>0.15</c:v>
                </c:pt>
                <c:pt idx="4">
                  <c:v>0.1</c:v>
                </c:pt>
                <c:pt idx="5">
                  <c:v>0.1</c:v>
                </c:pt>
                <c:pt idx="6">
                  <c:v>0.15</c:v>
                </c:pt>
                <c:pt idx="7">
                  <c:v>0.1</c:v>
                </c:pt>
                <c:pt idx="8">
                  <c:v>0.1</c:v>
                </c:pt>
                <c:pt idx="9">
                  <c:v>0.1</c:v>
                </c:pt>
                <c:pt idx="10">
                  <c:v>0.1</c:v>
                </c:pt>
                <c:pt idx="11">
                  <c:v>0.1</c:v>
                </c:pt>
                <c:pt idx="12">
                  <c:v>0.1</c:v>
                </c:pt>
                <c:pt idx="13">
                  <c:v>0.1</c:v>
                </c:pt>
                <c:pt idx="14">
                  <c:v>0.1</c:v>
                </c:pt>
                <c:pt idx="15">
                  <c:v>0.1</c:v>
                </c:pt>
                <c:pt idx="16">
                  <c:v>0.1</c:v>
                </c:pt>
                <c:pt idx="17">
                  <c:v>0.15</c:v>
                </c:pt>
                <c:pt idx="18">
                  <c:v>0.1</c:v>
                </c:pt>
                <c:pt idx="19">
                  <c:v>0.05</c:v>
                </c:pt>
                <c:pt idx="20">
                  <c:v>0.25</c:v>
                </c:pt>
                <c:pt idx="21">
                  <c:v>0.3</c:v>
                </c:pt>
                <c:pt idx="22">
                  <c:v>0.15</c:v>
                </c:pt>
                <c:pt idx="23">
                  <c:v>0.2</c:v>
                </c:pt>
                <c:pt idx="24">
                  <c:v>0.05</c:v>
                </c:pt>
              </c:numCache>
            </c:numRef>
          </c:xVal>
          <c:yVal>
            <c:numRef>
              <c:f>Sheet1!$B$2:$B$26</c:f>
              <c:numCache>
                <c:formatCode>General</c:formatCode>
                <c:ptCount val="2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27296962627611893</c:v>
                </c:pt>
                <c:pt idx="21">
                  <c:v>0.17453825430309389</c:v>
                </c:pt>
                <c:pt idx="22">
                  <c:v>0</c:v>
                </c:pt>
                <c:pt idx="23">
                  <c:v>0.15649360016511971</c:v>
                </c:pt>
                <c:pt idx="2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6</c:f>
              <c:numCache>
                <c:formatCode>General</c:formatCode>
                <c:ptCount val="25"/>
                <c:pt idx="0">
                  <c:v>7.5</c:v>
                </c:pt>
                <c:pt idx="1">
                  <c:v>7.5</c:v>
                </c:pt>
                <c:pt idx="2">
                  <c:v>14</c:v>
                </c:pt>
                <c:pt idx="3">
                  <c:v>7.5</c:v>
                </c:pt>
                <c:pt idx="4">
                  <c:v>8</c:v>
                </c:pt>
                <c:pt idx="5">
                  <c:v>7.5</c:v>
                </c:pt>
                <c:pt idx="6">
                  <c:v>7.5</c:v>
                </c:pt>
                <c:pt idx="7">
                  <c:v>7.5</c:v>
                </c:pt>
                <c:pt idx="8">
                  <c:v>7.5</c:v>
                </c:pt>
                <c:pt idx="9">
                  <c:v>8</c:v>
                </c:pt>
                <c:pt idx="10">
                  <c:v>7.5</c:v>
                </c:pt>
                <c:pt idx="11">
                  <c:v>7.5</c:v>
                </c:pt>
                <c:pt idx="12">
                  <c:v>7.5</c:v>
                </c:pt>
                <c:pt idx="13">
                  <c:v>7.5</c:v>
                </c:pt>
                <c:pt idx="14">
                  <c:v>8</c:v>
                </c:pt>
                <c:pt idx="15">
                  <c:v>7.5</c:v>
                </c:pt>
                <c:pt idx="16">
                  <c:v>7.5</c:v>
                </c:pt>
                <c:pt idx="17">
                  <c:v>14</c:v>
                </c:pt>
                <c:pt idx="18">
                  <c:v>14</c:v>
                </c:pt>
                <c:pt idx="19">
                  <c:v>8</c:v>
                </c:pt>
                <c:pt idx="20">
                  <c:v>11.5</c:v>
                </c:pt>
                <c:pt idx="21">
                  <c:v>11</c:v>
                </c:pt>
                <c:pt idx="22">
                  <c:v>7.5</c:v>
                </c:pt>
                <c:pt idx="23">
                  <c:v>16</c:v>
                </c:pt>
                <c:pt idx="24">
                  <c:v>8</c:v>
                </c:pt>
              </c:numCache>
            </c:numRef>
          </c:xVal>
          <c:yVal>
            <c:numRef>
              <c:f>Sheet1!$B$2:$B$26</c:f>
              <c:numCache>
                <c:formatCode>General</c:formatCode>
                <c:ptCount val="2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27296962627611893</c:v>
                </c:pt>
                <c:pt idx="21">
                  <c:v>0.17453825430309389</c:v>
                </c:pt>
                <c:pt idx="22">
                  <c:v>0</c:v>
                </c:pt>
                <c:pt idx="23">
                  <c:v>0.15649360016511971</c:v>
                </c:pt>
                <c:pt idx="2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2</c:v>
                </c:pt>
                <c:pt idx="20">
                  <c:v>0.15</c:v>
                </c:pt>
                <c:pt idx="21">
                  <c:v>0</c:v>
                </c:pt>
                <c:pt idx="22">
                  <c:v>0</c:v>
                </c:pt>
                <c:pt idx="23">
                  <c:v>0.25</c:v>
                </c:pt>
                <c:pt idx="24">
                  <c:v>0.2</c:v>
                </c:pt>
                <c:pt idx="25">
                  <c:v>0</c:v>
                </c:pt>
                <c:pt idx="26">
                  <c:v>0.65</c:v>
                </c:pt>
                <c:pt idx="27">
                  <c:v>0.70000000000000007</c:v>
                </c:pt>
                <c:pt idx="28">
                  <c:v>0.70000000000000007</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2</c:v>
                </c:pt>
                <c:pt idx="20">
                  <c:v>15</c:v>
                </c:pt>
                <c:pt idx="21">
                  <c:v>15</c:v>
                </c:pt>
                <c:pt idx="22">
                  <c:v>15</c:v>
                </c:pt>
                <c:pt idx="23">
                  <c:v>11.5</c:v>
                </c:pt>
                <c:pt idx="24">
                  <c:v>14</c:v>
                </c:pt>
                <c:pt idx="25">
                  <c:v>15</c:v>
                </c:pt>
                <c:pt idx="26">
                  <c:v>5</c:v>
                </c:pt>
                <c:pt idx="27">
                  <c:v>4.5</c:v>
                </c:pt>
                <c:pt idx="28">
                  <c:v>4.5</c:v>
                </c:pt>
              </c:numCache>
            </c:numRef>
          </c:xVal>
          <c:yVal>
            <c:numRef>
              <c:f>Sheet1!$B$2:$B$30</c:f>
              <c:numCache>
                <c:formatCode>General</c:formatCode>
                <c:ptCount val="2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1371841155234648E-2</c:v>
                </c:pt>
                <c:pt idx="20">
                  <c:v>6.7530926961531942E-2</c:v>
                </c:pt>
                <c:pt idx="21">
                  <c:v>0</c:v>
                </c:pt>
                <c:pt idx="22">
                  <c:v>0</c:v>
                </c:pt>
                <c:pt idx="23">
                  <c:v>0.29048851105772189</c:v>
                </c:pt>
                <c:pt idx="24">
                  <c:v>1.42812303829253E-2</c:v>
                </c:pt>
                <c:pt idx="25">
                  <c:v>0</c:v>
                </c:pt>
                <c:pt idx="26">
                  <c:v>5.9169822980092587E-2</c:v>
                </c:pt>
                <c:pt idx="27">
                  <c:v>1.664441313454075</c:v>
                </c:pt>
                <c:pt idx="28">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c:v>
                </c:pt>
                <c:pt idx="1">
                  <c:v>-0.17500000000000004</c:v>
                </c:pt>
                <c:pt idx="2">
                  <c:v>1.25</c:v>
                </c:pt>
                <c:pt idx="3">
                  <c:v>-0.8890000000000000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0.1</c:v>
                </c:pt>
                <c:pt idx="1">
                  <c:v>0.1</c:v>
                </c:pt>
                <c:pt idx="2">
                  <c:v>0.05</c:v>
                </c:pt>
                <c:pt idx="3">
                  <c:v>0.05</c:v>
                </c:pt>
                <c:pt idx="4">
                  <c:v>0.05</c:v>
                </c:pt>
                <c:pt idx="5">
                  <c:v>0.1</c:v>
                </c:pt>
                <c:pt idx="6">
                  <c:v>0.1</c:v>
                </c:pt>
                <c:pt idx="7">
                  <c:v>0.1</c:v>
                </c:pt>
                <c:pt idx="8">
                  <c:v>0.1</c:v>
                </c:pt>
                <c:pt idx="9">
                  <c:v>0.1</c:v>
                </c:pt>
                <c:pt idx="10">
                  <c:v>0.1</c:v>
                </c:pt>
                <c:pt idx="11">
                  <c:v>0.1</c:v>
                </c:pt>
                <c:pt idx="12">
                  <c:v>0.1</c:v>
                </c:pt>
                <c:pt idx="13">
                  <c:v>0.1</c:v>
                </c:pt>
                <c:pt idx="14">
                  <c:v>0.1</c:v>
                </c:pt>
                <c:pt idx="15">
                  <c:v>0.1</c:v>
                </c:pt>
                <c:pt idx="16">
                  <c:v>0.1</c:v>
                </c:pt>
                <c:pt idx="17">
                  <c:v>0.1</c:v>
                </c:pt>
                <c:pt idx="18">
                  <c:v>0</c:v>
                </c:pt>
                <c:pt idx="19">
                  <c:v>0.1</c:v>
                </c:pt>
                <c:pt idx="20">
                  <c:v>0</c:v>
                </c:pt>
                <c:pt idx="21">
                  <c:v>0</c:v>
                </c:pt>
                <c:pt idx="22">
                  <c:v>0.05</c:v>
                </c:pt>
                <c:pt idx="23">
                  <c:v>0</c:v>
                </c:pt>
                <c:pt idx="24">
                  <c:v>0</c:v>
                </c:pt>
                <c:pt idx="25">
                  <c:v>0</c:v>
                </c:pt>
                <c:pt idx="26">
                  <c:v>0.1</c:v>
                </c:pt>
                <c:pt idx="27">
                  <c:v>0</c:v>
                </c:pt>
                <c:pt idx="28">
                  <c:v>0</c:v>
                </c:pt>
                <c:pt idx="29">
                  <c:v>0.1</c:v>
                </c:pt>
                <c:pt idx="30">
                  <c:v>0</c:v>
                </c:pt>
                <c:pt idx="31">
                  <c:v>0.1</c:v>
                </c:pt>
                <c:pt idx="32">
                  <c:v>0</c:v>
                </c:pt>
                <c:pt idx="33">
                  <c:v>0.15</c:v>
                </c:pt>
                <c:pt idx="34">
                  <c:v>0.1</c:v>
                </c:pt>
                <c:pt idx="35">
                  <c:v>0.05</c:v>
                </c:pt>
                <c:pt idx="36">
                  <c:v>0.55000000000000004</c:v>
                </c:pt>
                <c:pt idx="37">
                  <c:v>0</c:v>
                </c:pt>
                <c:pt idx="38">
                  <c:v>0.55000000000000004</c:v>
                </c:pt>
                <c:pt idx="39">
                  <c:v>0.5</c:v>
                </c:pt>
                <c:pt idx="40">
                  <c:v>0</c:v>
                </c:pt>
                <c:pt idx="41">
                  <c:v>0.4</c:v>
                </c:pt>
                <c:pt idx="42">
                  <c:v>0.1</c:v>
                </c:pt>
                <c:pt idx="43">
                  <c:v>0.05</c:v>
                </c:pt>
                <c:pt idx="44">
                  <c:v>0.05</c:v>
                </c:pt>
                <c:pt idx="45">
                  <c:v>0.05</c:v>
                </c:pt>
                <c:pt idx="46">
                  <c:v>0</c:v>
                </c:pt>
                <c:pt idx="47">
                  <c:v>0.05</c:v>
                </c:pt>
                <c:pt idx="48">
                  <c:v>0.15</c:v>
                </c:pt>
                <c:pt idx="49">
                  <c:v>0.15</c:v>
                </c:pt>
                <c:pt idx="50">
                  <c:v>0.05</c:v>
                </c:pt>
                <c:pt idx="51">
                  <c:v>0.05</c:v>
                </c:pt>
                <c:pt idx="52">
                  <c:v>0.1</c:v>
                </c:pt>
                <c:pt idx="53">
                  <c:v>0.05</c:v>
                </c:pt>
                <c:pt idx="54">
                  <c:v>0.05</c:v>
                </c:pt>
                <c:pt idx="55">
                  <c:v>0.1</c:v>
                </c:pt>
                <c:pt idx="56">
                  <c:v>0</c:v>
                </c:pt>
                <c:pt idx="57">
                  <c:v>0.05</c:v>
                </c:pt>
                <c:pt idx="58">
                  <c:v>0.05</c:v>
                </c:pt>
                <c:pt idx="59">
                  <c:v>0.05</c:v>
                </c:pt>
                <c:pt idx="60">
                  <c:v>0.1</c:v>
                </c:pt>
                <c:pt idx="61">
                  <c:v>0.15</c:v>
                </c:pt>
                <c:pt idx="62">
                  <c:v>0.05</c:v>
                </c:pt>
                <c:pt idx="63">
                  <c:v>0</c:v>
                </c:pt>
                <c:pt idx="64">
                  <c:v>0.1</c:v>
                </c:pt>
                <c:pt idx="65">
                  <c:v>0.1</c:v>
                </c:pt>
                <c:pt idx="66">
                  <c:v>0.05</c:v>
                </c:pt>
                <c:pt idx="67">
                  <c:v>0</c:v>
                </c:pt>
                <c:pt idx="68">
                  <c:v>0.2</c:v>
                </c:pt>
                <c:pt idx="69">
                  <c:v>0.05</c:v>
                </c:pt>
                <c:pt idx="70">
                  <c:v>0.1</c:v>
                </c:pt>
                <c:pt idx="71">
                  <c:v>0.05</c:v>
                </c:pt>
                <c:pt idx="72">
                  <c:v>0.2</c:v>
                </c:pt>
                <c:pt idx="73">
                  <c:v>0.25</c:v>
                </c:pt>
                <c:pt idx="74">
                  <c:v>0.05</c:v>
                </c:pt>
                <c:pt idx="75">
                  <c:v>0.1</c:v>
                </c:pt>
                <c:pt idx="76">
                  <c:v>0.1</c:v>
                </c:pt>
                <c:pt idx="77">
                  <c:v>0.15</c:v>
                </c:pt>
                <c:pt idx="78">
                  <c:v>0.05</c:v>
                </c:pt>
                <c:pt idx="79">
                  <c:v>0.15</c:v>
                </c:pt>
                <c:pt idx="80">
                  <c:v>0.05</c:v>
                </c:pt>
                <c:pt idx="81">
                  <c:v>0.15</c:v>
                </c:pt>
                <c:pt idx="82">
                  <c:v>0.1</c:v>
                </c:pt>
                <c:pt idx="83">
                  <c:v>0</c:v>
                </c:pt>
                <c:pt idx="84">
                  <c:v>0.05</c:v>
                </c:pt>
                <c:pt idx="85">
                  <c:v>0.2</c:v>
                </c:pt>
                <c:pt idx="86">
                  <c:v>0.05</c:v>
                </c:pt>
                <c:pt idx="87">
                  <c:v>0.05</c:v>
                </c:pt>
                <c:pt idx="88">
                  <c:v>0.1</c:v>
                </c:pt>
                <c:pt idx="89">
                  <c:v>0.1</c:v>
                </c:pt>
                <c:pt idx="90">
                  <c:v>0.05</c:v>
                </c:pt>
                <c:pt idx="91">
                  <c:v>0.1</c:v>
                </c:pt>
                <c:pt idx="92">
                  <c:v>0.15</c:v>
                </c:pt>
                <c:pt idx="93">
                  <c:v>0.05</c:v>
                </c:pt>
                <c:pt idx="94">
                  <c:v>0</c:v>
                </c:pt>
                <c:pt idx="95">
                  <c:v>0.05</c:v>
                </c:pt>
                <c:pt idx="96">
                  <c:v>0.1</c:v>
                </c:pt>
                <c:pt idx="97">
                  <c:v>0.05</c:v>
                </c:pt>
                <c:pt idx="98">
                  <c:v>0.2</c:v>
                </c:pt>
                <c:pt idx="99">
                  <c:v>0.05</c:v>
                </c:pt>
                <c:pt idx="100">
                  <c:v>0.15</c:v>
                </c:pt>
                <c:pt idx="101">
                  <c:v>0.1</c:v>
                </c:pt>
                <c:pt idx="102">
                  <c:v>0.05</c:v>
                </c:pt>
                <c:pt idx="103">
                  <c:v>0</c:v>
                </c:pt>
                <c:pt idx="104">
                  <c:v>0.1</c:v>
                </c:pt>
                <c:pt idx="105">
                  <c:v>0.05</c:v>
                </c:pt>
                <c:pt idx="106">
                  <c:v>0.25</c:v>
                </c:pt>
                <c:pt idx="107">
                  <c:v>0.1</c:v>
                </c:pt>
                <c:pt idx="108">
                  <c:v>0</c:v>
                </c:pt>
                <c:pt idx="109">
                  <c:v>0.05</c:v>
                </c:pt>
                <c:pt idx="110">
                  <c:v>0.05</c:v>
                </c:pt>
                <c:pt idx="111">
                  <c:v>0.15</c:v>
                </c:pt>
                <c:pt idx="112">
                  <c:v>0</c:v>
                </c:pt>
                <c:pt idx="113">
                  <c:v>0</c:v>
                </c:pt>
                <c:pt idx="114">
                  <c:v>0.1</c:v>
                </c:pt>
                <c:pt idx="115">
                  <c:v>0.05</c:v>
                </c:pt>
                <c:pt idx="116">
                  <c:v>0.1</c:v>
                </c:pt>
                <c:pt idx="117">
                  <c:v>0</c:v>
                </c:pt>
                <c:pt idx="118">
                  <c:v>0</c:v>
                </c:pt>
                <c:pt idx="119">
                  <c:v>0</c:v>
                </c:pt>
                <c:pt idx="120">
                  <c:v>0</c:v>
                </c:pt>
                <c:pt idx="121">
                  <c:v>0</c:v>
                </c:pt>
                <c:pt idx="122">
                  <c:v>0</c:v>
                </c:pt>
                <c:pt idx="123">
                  <c:v>0.05</c:v>
                </c:pt>
                <c:pt idx="124">
                  <c:v>0.05</c:v>
                </c:pt>
                <c:pt idx="125">
                  <c:v>0.05</c:v>
                </c:pt>
                <c:pt idx="126">
                  <c:v>0.05</c:v>
                </c:pt>
                <c:pt idx="127">
                  <c:v>0</c:v>
                </c:pt>
                <c:pt idx="128">
                  <c:v>0.2</c:v>
                </c:pt>
                <c:pt idx="129">
                  <c:v>0.1</c:v>
                </c:pt>
                <c:pt idx="130">
                  <c:v>0.2</c:v>
                </c:pt>
                <c:pt idx="131">
                  <c:v>0.05</c:v>
                </c:pt>
                <c:pt idx="132">
                  <c:v>0</c:v>
                </c:pt>
                <c:pt idx="133">
                  <c:v>0</c:v>
                </c:pt>
                <c:pt idx="134">
                  <c:v>0.1</c:v>
                </c:pt>
                <c:pt idx="135">
                  <c:v>0.05</c:v>
                </c:pt>
                <c:pt idx="136">
                  <c:v>0</c:v>
                </c:pt>
                <c:pt idx="137">
                  <c:v>0.3</c:v>
                </c:pt>
                <c:pt idx="138">
                  <c:v>0.05</c:v>
                </c:pt>
                <c:pt idx="139">
                  <c:v>0.1</c:v>
                </c:pt>
                <c:pt idx="140">
                  <c:v>0.1</c:v>
                </c:pt>
                <c:pt idx="141">
                  <c:v>0.05</c:v>
                </c:pt>
                <c:pt idx="142">
                  <c:v>0.1</c:v>
                </c:pt>
                <c:pt idx="143">
                  <c:v>0.2</c:v>
                </c:pt>
                <c:pt idx="144">
                  <c:v>0.05</c:v>
                </c:pt>
                <c:pt idx="145">
                  <c:v>0.1</c:v>
                </c:pt>
                <c:pt idx="146">
                  <c:v>0.05</c:v>
                </c:pt>
                <c:pt idx="147">
                  <c:v>0.1</c:v>
                </c:pt>
                <c:pt idx="148">
                  <c:v>0.05</c:v>
                </c:pt>
                <c:pt idx="149">
                  <c:v>0.2</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6</c:v>
                </c:pt>
                <c:pt idx="1">
                  <c:v>10</c:v>
                </c:pt>
                <c:pt idx="2">
                  <c:v>6</c:v>
                </c:pt>
                <c:pt idx="3">
                  <c:v>6</c:v>
                </c:pt>
                <c:pt idx="4">
                  <c:v>10</c:v>
                </c:pt>
                <c:pt idx="5">
                  <c:v>6</c:v>
                </c:pt>
                <c:pt idx="6">
                  <c:v>10</c:v>
                </c:pt>
                <c:pt idx="7">
                  <c:v>6</c:v>
                </c:pt>
                <c:pt idx="8">
                  <c:v>6</c:v>
                </c:pt>
                <c:pt idx="9">
                  <c:v>6</c:v>
                </c:pt>
                <c:pt idx="10">
                  <c:v>6</c:v>
                </c:pt>
                <c:pt idx="11">
                  <c:v>6</c:v>
                </c:pt>
                <c:pt idx="12">
                  <c:v>6</c:v>
                </c:pt>
                <c:pt idx="13">
                  <c:v>6</c:v>
                </c:pt>
                <c:pt idx="14">
                  <c:v>6</c:v>
                </c:pt>
                <c:pt idx="15">
                  <c:v>6</c:v>
                </c:pt>
                <c:pt idx="16">
                  <c:v>6</c:v>
                </c:pt>
                <c:pt idx="17">
                  <c:v>6</c:v>
                </c:pt>
                <c:pt idx="18">
                  <c:v>10</c:v>
                </c:pt>
                <c:pt idx="19">
                  <c:v>6</c:v>
                </c:pt>
                <c:pt idx="20">
                  <c:v>10</c:v>
                </c:pt>
                <c:pt idx="21">
                  <c:v>10</c:v>
                </c:pt>
                <c:pt idx="22">
                  <c:v>6</c:v>
                </c:pt>
                <c:pt idx="23">
                  <c:v>10</c:v>
                </c:pt>
                <c:pt idx="24">
                  <c:v>10</c:v>
                </c:pt>
                <c:pt idx="25">
                  <c:v>10</c:v>
                </c:pt>
                <c:pt idx="26">
                  <c:v>10</c:v>
                </c:pt>
                <c:pt idx="27">
                  <c:v>10</c:v>
                </c:pt>
                <c:pt idx="28">
                  <c:v>10</c:v>
                </c:pt>
                <c:pt idx="29">
                  <c:v>6</c:v>
                </c:pt>
                <c:pt idx="30">
                  <c:v>10.5</c:v>
                </c:pt>
                <c:pt idx="31">
                  <c:v>6</c:v>
                </c:pt>
                <c:pt idx="32">
                  <c:v>10</c:v>
                </c:pt>
                <c:pt idx="33">
                  <c:v>5.5</c:v>
                </c:pt>
                <c:pt idx="34">
                  <c:v>6</c:v>
                </c:pt>
                <c:pt idx="35">
                  <c:v>10.5</c:v>
                </c:pt>
                <c:pt idx="36">
                  <c:v>3</c:v>
                </c:pt>
                <c:pt idx="37">
                  <c:v>10</c:v>
                </c:pt>
                <c:pt idx="38">
                  <c:v>5</c:v>
                </c:pt>
                <c:pt idx="39">
                  <c:v>3</c:v>
                </c:pt>
                <c:pt idx="40">
                  <c:v>10</c:v>
                </c:pt>
                <c:pt idx="41">
                  <c:v>6</c:v>
                </c:pt>
                <c:pt idx="42">
                  <c:v>6</c:v>
                </c:pt>
                <c:pt idx="43">
                  <c:v>6.5</c:v>
                </c:pt>
                <c:pt idx="44">
                  <c:v>10.5</c:v>
                </c:pt>
                <c:pt idx="45">
                  <c:v>14</c:v>
                </c:pt>
                <c:pt idx="46">
                  <c:v>6.5</c:v>
                </c:pt>
                <c:pt idx="47">
                  <c:v>6</c:v>
                </c:pt>
                <c:pt idx="48">
                  <c:v>9.5</c:v>
                </c:pt>
                <c:pt idx="49">
                  <c:v>13</c:v>
                </c:pt>
                <c:pt idx="50">
                  <c:v>6.5</c:v>
                </c:pt>
                <c:pt idx="51">
                  <c:v>6</c:v>
                </c:pt>
                <c:pt idx="52">
                  <c:v>10</c:v>
                </c:pt>
                <c:pt idx="53">
                  <c:v>14.5</c:v>
                </c:pt>
                <c:pt idx="54">
                  <c:v>6</c:v>
                </c:pt>
                <c:pt idx="55">
                  <c:v>6</c:v>
                </c:pt>
                <c:pt idx="56">
                  <c:v>11</c:v>
                </c:pt>
                <c:pt idx="57">
                  <c:v>14.5</c:v>
                </c:pt>
                <c:pt idx="58">
                  <c:v>6</c:v>
                </c:pt>
                <c:pt idx="59">
                  <c:v>6</c:v>
                </c:pt>
                <c:pt idx="60">
                  <c:v>10</c:v>
                </c:pt>
                <c:pt idx="61">
                  <c:v>12.5</c:v>
                </c:pt>
                <c:pt idx="62">
                  <c:v>6.5</c:v>
                </c:pt>
                <c:pt idx="63">
                  <c:v>6.5</c:v>
                </c:pt>
                <c:pt idx="64">
                  <c:v>10</c:v>
                </c:pt>
                <c:pt idx="65">
                  <c:v>13.5</c:v>
                </c:pt>
                <c:pt idx="66">
                  <c:v>6</c:v>
                </c:pt>
                <c:pt idx="67">
                  <c:v>6.5</c:v>
                </c:pt>
                <c:pt idx="68">
                  <c:v>9</c:v>
                </c:pt>
                <c:pt idx="69">
                  <c:v>14.5</c:v>
                </c:pt>
                <c:pt idx="70">
                  <c:v>6</c:v>
                </c:pt>
                <c:pt idx="71">
                  <c:v>6</c:v>
                </c:pt>
                <c:pt idx="72">
                  <c:v>9</c:v>
                </c:pt>
                <c:pt idx="73">
                  <c:v>11</c:v>
                </c:pt>
                <c:pt idx="74">
                  <c:v>6</c:v>
                </c:pt>
                <c:pt idx="75">
                  <c:v>6</c:v>
                </c:pt>
                <c:pt idx="76">
                  <c:v>10</c:v>
                </c:pt>
                <c:pt idx="77">
                  <c:v>12.5</c:v>
                </c:pt>
                <c:pt idx="78">
                  <c:v>6</c:v>
                </c:pt>
                <c:pt idx="79">
                  <c:v>5.5</c:v>
                </c:pt>
                <c:pt idx="80">
                  <c:v>10.5</c:v>
                </c:pt>
                <c:pt idx="81">
                  <c:v>12.5</c:v>
                </c:pt>
                <c:pt idx="82">
                  <c:v>6</c:v>
                </c:pt>
                <c:pt idx="83">
                  <c:v>6.5</c:v>
                </c:pt>
                <c:pt idx="84">
                  <c:v>10.5</c:v>
                </c:pt>
                <c:pt idx="85">
                  <c:v>12</c:v>
                </c:pt>
                <c:pt idx="86">
                  <c:v>6.5</c:v>
                </c:pt>
                <c:pt idx="87">
                  <c:v>6</c:v>
                </c:pt>
                <c:pt idx="88">
                  <c:v>9.5</c:v>
                </c:pt>
                <c:pt idx="89">
                  <c:v>13.5</c:v>
                </c:pt>
                <c:pt idx="90">
                  <c:v>6</c:v>
                </c:pt>
                <c:pt idx="91">
                  <c:v>6</c:v>
                </c:pt>
                <c:pt idx="92">
                  <c:v>9.5</c:v>
                </c:pt>
                <c:pt idx="93">
                  <c:v>14.5</c:v>
                </c:pt>
                <c:pt idx="94">
                  <c:v>6.5</c:v>
                </c:pt>
                <c:pt idx="95">
                  <c:v>6.5</c:v>
                </c:pt>
                <c:pt idx="96">
                  <c:v>10</c:v>
                </c:pt>
                <c:pt idx="97">
                  <c:v>14</c:v>
                </c:pt>
                <c:pt idx="98">
                  <c:v>5.5</c:v>
                </c:pt>
                <c:pt idx="99">
                  <c:v>6</c:v>
                </c:pt>
                <c:pt idx="100">
                  <c:v>9.5</c:v>
                </c:pt>
                <c:pt idx="101">
                  <c:v>13.5</c:v>
                </c:pt>
                <c:pt idx="102">
                  <c:v>6.5</c:v>
                </c:pt>
                <c:pt idx="103">
                  <c:v>10</c:v>
                </c:pt>
                <c:pt idx="104">
                  <c:v>6</c:v>
                </c:pt>
                <c:pt idx="105">
                  <c:v>10.5</c:v>
                </c:pt>
                <c:pt idx="106">
                  <c:v>11</c:v>
                </c:pt>
                <c:pt idx="107">
                  <c:v>6</c:v>
                </c:pt>
                <c:pt idx="108">
                  <c:v>10</c:v>
                </c:pt>
                <c:pt idx="109">
                  <c:v>6</c:v>
                </c:pt>
                <c:pt idx="110">
                  <c:v>10.5</c:v>
                </c:pt>
                <c:pt idx="111">
                  <c:v>13</c:v>
                </c:pt>
                <c:pt idx="112">
                  <c:v>6.5</c:v>
                </c:pt>
                <c:pt idx="113">
                  <c:v>10</c:v>
                </c:pt>
                <c:pt idx="114">
                  <c:v>6</c:v>
                </c:pt>
                <c:pt idx="115">
                  <c:v>10.5</c:v>
                </c:pt>
                <c:pt idx="116">
                  <c:v>14</c:v>
                </c:pt>
                <c:pt idx="117">
                  <c:v>10</c:v>
                </c:pt>
                <c:pt idx="118">
                  <c:v>10</c:v>
                </c:pt>
                <c:pt idx="119">
                  <c:v>10</c:v>
                </c:pt>
                <c:pt idx="120">
                  <c:v>10</c:v>
                </c:pt>
                <c:pt idx="121">
                  <c:v>6.5</c:v>
                </c:pt>
                <c:pt idx="122">
                  <c:v>10</c:v>
                </c:pt>
                <c:pt idx="123">
                  <c:v>6</c:v>
                </c:pt>
                <c:pt idx="124">
                  <c:v>10.5</c:v>
                </c:pt>
                <c:pt idx="125">
                  <c:v>14.5</c:v>
                </c:pt>
                <c:pt idx="126">
                  <c:v>6</c:v>
                </c:pt>
                <c:pt idx="127">
                  <c:v>10</c:v>
                </c:pt>
                <c:pt idx="128">
                  <c:v>5.5</c:v>
                </c:pt>
                <c:pt idx="129">
                  <c:v>10</c:v>
                </c:pt>
                <c:pt idx="130">
                  <c:v>12.5</c:v>
                </c:pt>
                <c:pt idx="131">
                  <c:v>6</c:v>
                </c:pt>
                <c:pt idx="132">
                  <c:v>10</c:v>
                </c:pt>
                <c:pt idx="133">
                  <c:v>6.5</c:v>
                </c:pt>
                <c:pt idx="134">
                  <c:v>10</c:v>
                </c:pt>
                <c:pt idx="135">
                  <c:v>14.5</c:v>
                </c:pt>
                <c:pt idx="136">
                  <c:v>10</c:v>
                </c:pt>
                <c:pt idx="137">
                  <c:v>7</c:v>
                </c:pt>
                <c:pt idx="138">
                  <c:v>6.5</c:v>
                </c:pt>
                <c:pt idx="139">
                  <c:v>6</c:v>
                </c:pt>
                <c:pt idx="140">
                  <c:v>13.5</c:v>
                </c:pt>
                <c:pt idx="141">
                  <c:v>6.5</c:v>
                </c:pt>
                <c:pt idx="142">
                  <c:v>10</c:v>
                </c:pt>
                <c:pt idx="143">
                  <c:v>9</c:v>
                </c:pt>
                <c:pt idx="144">
                  <c:v>6.5</c:v>
                </c:pt>
                <c:pt idx="145">
                  <c:v>6</c:v>
                </c:pt>
                <c:pt idx="146">
                  <c:v>14.5</c:v>
                </c:pt>
                <c:pt idx="147">
                  <c:v>6</c:v>
                </c:pt>
                <c:pt idx="148">
                  <c:v>10.5</c:v>
                </c:pt>
                <c:pt idx="149">
                  <c:v>8.5</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05</c:v>
                </c:pt>
                <c:pt idx="19">
                  <c:v>0.25</c:v>
                </c:pt>
                <c:pt idx="20">
                  <c:v>0.05</c:v>
                </c:pt>
                <c:pt idx="21">
                  <c:v>0.25</c:v>
                </c:pt>
                <c:pt idx="22">
                  <c:v>0.3</c:v>
                </c:pt>
                <c:pt idx="23">
                  <c:v>0.05</c:v>
                </c:pt>
                <c:pt idx="24">
                  <c:v>0.3</c:v>
                </c:pt>
                <c:pt idx="25">
                  <c:v>0.60000000000000009</c:v>
                </c:pt>
                <c:pt idx="26">
                  <c:v>0.65</c:v>
                </c:pt>
                <c:pt idx="27">
                  <c:v>0.05</c:v>
                </c:pt>
                <c:pt idx="28">
                  <c:v>0.1</c:v>
                </c:pt>
                <c:pt idx="29">
                  <c:v>0.1</c:v>
                </c:pt>
                <c:pt idx="30">
                  <c:v>0.1</c:v>
                </c:pt>
                <c:pt idx="31">
                  <c:v>0.1</c:v>
                </c:pt>
                <c:pt idx="32">
                  <c:v>0.05</c:v>
                </c:pt>
                <c:pt idx="33">
                  <c:v>0.1</c:v>
                </c:pt>
                <c:pt idx="34">
                  <c:v>0.1</c:v>
                </c:pt>
                <c:pt idx="35">
                  <c:v>0.05</c:v>
                </c:pt>
                <c:pt idx="36">
                  <c:v>0.05</c:v>
                </c:pt>
                <c:pt idx="37">
                  <c:v>0.1</c:v>
                </c:pt>
                <c:pt idx="38">
                  <c:v>0.1</c:v>
                </c:pt>
                <c:pt idx="39">
                  <c:v>0.1</c:v>
                </c:pt>
                <c:pt idx="40">
                  <c:v>0.1</c:v>
                </c:pt>
                <c:pt idx="41">
                  <c:v>0</c:v>
                </c:pt>
                <c:pt idx="42">
                  <c:v>0.1</c:v>
                </c:pt>
                <c:pt idx="43">
                  <c:v>0</c:v>
                </c:pt>
                <c:pt idx="44">
                  <c:v>0.1</c:v>
                </c:pt>
                <c:pt idx="45">
                  <c:v>0</c:v>
                </c:pt>
                <c:pt idx="46">
                  <c:v>0</c:v>
                </c:pt>
                <c:pt idx="47">
                  <c:v>0.1</c:v>
                </c:pt>
                <c:pt idx="48">
                  <c:v>0</c:v>
                </c:pt>
                <c:pt idx="49">
                  <c:v>0.1</c:v>
                </c:pt>
                <c:pt idx="50">
                  <c:v>0</c:v>
                </c:pt>
                <c:pt idx="51">
                  <c:v>0.1</c:v>
                </c:pt>
                <c:pt idx="52">
                  <c:v>0</c:v>
                </c:pt>
                <c:pt idx="53">
                  <c:v>0</c:v>
                </c:pt>
                <c:pt idx="54">
                  <c:v>0</c:v>
                </c:pt>
                <c:pt idx="55">
                  <c:v>0</c:v>
                </c:pt>
                <c:pt idx="56">
                  <c:v>0.05</c:v>
                </c:pt>
                <c:pt idx="57">
                  <c:v>0</c:v>
                </c:pt>
                <c:pt idx="58">
                  <c:v>0</c:v>
                </c:pt>
                <c:pt idx="59">
                  <c:v>0</c:v>
                </c:pt>
                <c:pt idx="60">
                  <c:v>0</c:v>
                </c:pt>
                <c:pt idx="61">
                  <c:v>0</c:v>
                </c:pt>
                <c:pt idx="62">
                  <c:v>0.05</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05</c:v>
                </c:pt>
                <c:pt idx="93">
                  <c:v>0</c:v>
                </c:pt>
                <c:pt idx="94">
                  <c:v>0</c:v>
                </c:pt>
                <c:pt idx="95">
                  <c:v>0.05</c:v>
                </c:pt>
                <c:pt idx="96">
                  <c:v>0</c:v>
                </c:pt>
                <c:pt idx="97">
                  <c:v>0</c:v>
                </c:pt>
                <c:pt idx="98">
                  <c:v>0</c:v>
                </c:pt>
                <c:pt idx="99">
                  <c:v>0</c:v>
                </c:pt>
                <c:pt idx="100">
                  <c:v>0</c:v>
                </c:pt>
                <c:pt idx="101">
                  <c:v>0</c:v>
                </c:pt>
                <c:pt idx="102">
                  <c:v>0</c:v>
                </c:pt>
                <c:pt idx="103">
                  <c:v>0.05</c:v>
                </c:pt>
                <c:pt idx="104">
                  <c:v>0</c:v>
                </c:pt>
                <c:pt idx="105">
                  <c:v>0</c:v>
                </c:pt>
                <c:pt idx="106">
                  <c:v>0</c:v>
                </c:pt>
                <c:pt idx="107">
                  <c:v>0</c:v>
                </c:pt>
                <c:pt idx="108">
                  <c:v>0</c:v>
                </c:pt>
                <c:pt idx="109">
                  <c:v>0</c:v>
                </c:pt>
                <c:pt idx="110">
                  <c:v>0</c:v>
                </c:pt>
                <c:pt idx="111">
                  <c:v>0</c:v>
                </c:pt>
                <c:pt idx="112">
                  <c:v>0</c:v>
                </c:pt>
                <c:pt idx="113">
                  <c:v>0</c:v>
                </c:pt>
                <c:pt idx="114">
                  <c:v>0</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5.5</c:v>
                </c:pt>
                <c:pt idx="18">
                  <c:v>5.5</c:v>
                </c:pt>
                <c:pt idx="19">
                  <c:v>3</c:v>
                </c:pt>
                <c:pt idx="20">
                  <c:v>5.5</c:v>
                </c:pt>
                <c:pt idx="21">
                  <c:v>3</c:v>
                </c:pt>
                <c:pt idx="22">
                  <c:v>3</c:v>
                </c:pt>
                <c:pt idx="23">
                  <c:v>5.5</c:v>
                </c:pt>
                <c:pt idx="24">
                  <c:v>3</c:v>
                </c:pt>
                <c:pt idx="25">
                  <c:v>1.5</c:v>
                </c:pt>
                <c:pt idx="26">
                  <c:v>1.5</c:v>
                </c:pt>
                <c:pt idx="27">
                  <c:v>5.5</c:v>
                </c:pt>
                <c:pt idx="28">
                  <c:v>5.5</c:v>
                </c:pt>
                <c:pt idx="29">
                  <c:v>3.5</c:v>
                </c:pt>
                <c:pt idx="30">
                  <c:v>5.5</c:v>
                </c:pt>
                <c:pt idx="31">
                  <c:v>3.5</c:v>
                </c:pt>
                <c:pt idx="32">
                  <c:v>5.5</c:v>
                </c:pt>
                <c:pt idx="33">
                  <c:v>5.5</c:v>
                </c:pt>
                <c:pt idx="34">
                  <c:v>3.5</c:v>
                </c:pt>
                <c:pt idx="35">
                  <c:v>5.5</c:v>
                </c:pt>
                <c:pt idx="36">
                  <c:v>1</c:v>
                </c:pt>
                <c:pt idx="37">
                  <c:v>1</c:v>
                </c:pt>
                <c:pt idx="38">
                  <c:v>1</c:v>
                </c:pt>
                <c:pt idx="39">
                  <c:v>1</c:v>
                </c:pt>
                <c:pt idx="40">
                  <c:v>1</c:v>
                </c:pt>
                <c:pt idx="41">
                  <c:v>5.5</c:v>
                </c:pt>
                <c:pt idx="42">
                  <c:v>1</c:v>
                </c:pt>
                <c:pt idx="43">
                  <c:v>5.5</c:v>
                </c:pt>
                <c:pt idx="44">
                  <c:v>1</c:v>
                </c:pt>
                <c:pt idx="45">
                  <c:v>4</c:v>
                </c:pt>
                <c:pt idx="46">
                  <c:v>5.5</c:v>
                </c:pt>
                <c:pt idx="47">
                  <c:v>1</c:v>
                </c:pt>
                <c:pt idx="48">
                  <c:v>5.5</c:v>
                </c:pt>
                <c:pt idx="49">
                  <c:v>1</c:v>
                </c:pt>
                <c:pt idx="50">
                  <c:v>5.5</c:v>
                </c:pt>
                <c:pt idx="51">
                  <c:v>1</c:v>
                </c:pt>
                <c:pt idx="52">
                  <c:v>5.5</c:v>
                </c:pt>
                <c:pt idx="53">
                  <c:v>5.5</c:v>
                </c:pt>
                <c:pt idx="54">
                  <c:v>4</c:v>
                </c:pt>
                <c:pt idx="55">
                  <c:v>5.5</c:v>
                </c:pt>
                <c:pt idx="56">
                  <c:v>4</c:v>
                </c:pt>
                <c:pt idx="57">
                  <c:v>5.5</c:v>
                </c:pt>
                <c:pt idx="58">
                  <c:v>2</c:v>
                </c:pt>
                <c:pt idx="59">
                  <c:v>4</c:v>
                </c:pt>
                <c:pt idx="60">
                  <c:v>5.5</c:v>
                </c:pt>
                <c:pt idx="61">
                  <c:v>2</c:v>
                </c:pt>
                <c:pt idx="62">
                  <c:v>6</c:v>
                </c:pt>
                <c:pt idx="63">
                  <c:v>5.5</c:v>
                </c:pt>
                <c:pt idx="64">
                  <c:v>2</c:v>
                </c:pt>
                <c:pt idx="65">
                  <c:v>5.5</c:v>
                </c:pt>
                <c:pt idx="66">
                  <c:v>5.5</c:v>
                </c:pt>
                <c:pt idx="67">
                  <c:v>5.5</c:v>
                </c:pt>
                <c:pt idx="68">
                  <c:v>2</c:v>
                </c:pt>
                <c:pt idx="69">
                  <c:v>5.5</c:v>
                </c:pt>
                <c:pt idx="70">
                  <c:v>5.5</c:v>
                </c:pt>
                <c:pt idx="71">
                  <c:v>5.5</c:v>
                </c:pt>
                <c:pt idx="72">
                  <c:v>5.5</c:v>
                </c:pt>
                <c:pt idx="73">
                  <c:v>6</c:v>
                </c:pt>
                <c:pt idx="74">
                  <c:v>5.5</c:v>
                </c:pt>
                <c:pt idx="75">
                  <c:v>6</c:v>
                </c:pt>
                <c:pt idx="76">
                  <c:v>5.5</c:v>
                </c:pt>
                <c:pt idx="77">
                  <c:v>5.5</c:v>
                </c:pt>
                <c:pt idx="78">
                  <c:v>5.5</c:v>
                </c:pt>
                <c:pt idx="79">
                  <c:v>2</c:v>
                </c:pt>
                <c:pt idx="80">
                  <c:v>6</c:v>
                </c:pt>
                <c:pt idx="81">
                  <c:v>5.5</c:v>
                </c:pt>
                <c:pt idx="82">
                  <c:v>6</c:v>
                </c:pt>
                <c:pt idx="83">
                  <c:v>5.5</c:v>
                </c:pt>
                <c:pt idx="84">
                  <c:v>5.5</c:v>
                </c:pt>
                <c:pt idx="85">
                  <c:v>6</c:v>
                </c:pt>
                <c:pt idx="86">
                  <c:v>5.5</c:v>
                </c:pt>
                <c:pt idx="87">
                  <c:v>6</c:v>
                </c:pt>
                <c:pt idx="88">
                  <c:v>5.5</c:v>
                </c:pt>
                <c:pt idx="89">
                  <c:v>2</c:v>
                </c:pt>
                <c:pt idx="90">
                  <c:v>5.5</c:v>
                </c:pt>
                <c:pt idx="91">
                  <c:v>2</c:v>
                </c:pt>
                <c:pt idx="92">
                  <c:v>5</c:v>
                </c:pt>
                <c:pt idx="93">
                  <c:v>2</c:v>
                </c:pt>
                <c:pt idx="94">
                  <c:v>2</c:v>
                </c:pt>
                <c:pt idx="95">
                  <c:v>5.5</c:v>
                </c:pt>
                <c:pt idx="96">
                  <c:v>2</c:v>
                </c:pt>
                <c:pt idx="97">
                  <c:v>5.5</c:v>
                </c:pt>
                <c:pt idx="98">
                  <c:v>2</c:v>
                </c:pt>
                <c:pt idx="99">
                  <c:v>5.5</c:v>
                </c:pt>
                <c:pt idx="100">
                  <c:v>2</c:v>
                </c:pt>
                <c:pt idx="101">
                  <c:v>2</c:v>
                </c:pt>
                <c:pt idx="102">
                  <c:v>5.5</c:v>
                </c:pt>
                <c:pt idx="103">
                  <c:v>5.5</c:v>
                </c:pt>
                <c:pt idx="104">
                  <c:v>5.5</c:v>
                </c:pt>
                <c:pt idx="105">
                  <c:v>5.5</c:v>
                </c:pt>
                <c:pt idx="106">
                  <c:v>5.5</c:v>
                </c:pt>
                <c:pt idx="107">
                  <c:v>5.5</c:v>
                </c:pt>
                <c:pt idx="108">
                  <c:v>5.5</c:v>
                </c:pt>
                <c:pt idx="109">
                  <c:v>5.5</c:v>
                </c:pt>
                <c:pt idx="110">
                  <c:v>5.5</c:v>
                </c:pt>
                <c:pt idx="111">
                  <c:v>5.5</c:v>
                </c:pt>
                <c:pt idx="112">
                  <c:v>5.5</c:v>
                </c:pt>
                <c:pt idx="113">
                  <c:v>5.5</c:v>
                </c:pt>
                <c:pt idx="114">
                  <c:v>5.5</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7.1999999999999993"/>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0.05</c:v>
                </c:pt>
                <c:pt idx="1">
                  <c:v>0</c:v>
                </c:pt>
                <c:pt idx="2">
                  <c:v>0</c:v>
                </c:pt>
                <c:pt idx="3">
                  <c:v>0</c:v>
                </c:pt>
                <c:pt idx="4">
                  <c:v>0.1</c:v>
                </c:pt>
                <c:pt idx="5">
                  <c:v>0</c:v>
                </c:pt>
                <c:pt idx="6">
                  <c:v>0.1</c:v>
                </c:pt>
                <c:pt idx="7">
                  <c:v>0</c:v>
                </c:pt>
                <c:pt idx="8">
                  <c:v>0.05</c:v>
                </c:pt>
                <c:pt idx="9">
                  <c:v>0</c:v>
                </c:pt>
                <c:pt idx="10">
                  <c:v>0.05</c:v>
                </c:pt>
                <c:pt idx="11">
                  <c:v>0</c:v>
                </c:pt>
                <c:pt idx="12">
                  <c:v>0</c:v>
                </c:pt>
                <c:pt idx="13">
                  <c:v>-0.1</c:v>
                </c:pt>
                <c:pt idx="14">
                  <c:v>-0.1</c:v>
                </c:pt>
                <c:pt idx="15">
                  <c:v>0</c:v>
                </c:pt>
                <c:pt idx="16">
                  <c:v>0.1</c:v>
                </c:pt>
                <c:pt idx="17">
                  <c:v>0.2</c:v>
                </c:pt>
                <c:pt idx="18">
                  <c:v>0.2</c:v>
                </c:pt>
                <c:pt idx="19">
                  <c:v>0.15</c:v>
                </c:pt>
                <c:pt idx="20">
                  <c:v>0.15</c:v>
                </c:pt>
                <c:pt idx="21">
                  <c:v>0.15</c:v>
                </c:pt>
                <c:pt idx="22">
                  <c:v>0.1</c:v>
                </c:pt>
                <c:pt idx="23">
                  <c:v>0.2</c:v>
                </c:pt>
                <c:pt idx="24">
                  <c:v>0.05</c:v>
                </c:pt>
                <c:pt idx="25">
                  <c:v>0.05</c:v>
                </c:pt>
                <c:pt idx="26">
                  <c:v>0.2</c:v>
                </c:pt>
                <c:pt idx="27">
                  <c:v>0.2</c:v>
                </c:pt>
                <c:pt idx="28">
                  <c:v>0.1</c:v>
                </c:pt>
                <c:pt idx="29">
                  <c:v>0.2</c:v>
                </c:pt>
                <c:pt idx="30">
                  <c:v>0.1</c:v>
                </c:pt>
                <c:pt idx="31">
                  <c:v>0.1</c:v>
                </c:pt>
                <c:pt idx="32">
                  <c:v>0.1</c:v>
                </c:pt>
                <c:pt idx="33">
                  <c:v>0</c:v>
                </c:pt>
                <c:pt idx="34">
                  <c:v>0</c:v>
                </c:pt>
                <c:pt idx="35">
                  <c:v>0</c:v>
                </c:pt>
                <c:pt idx="36">
                  <c:v>0.05</c:v>
                </c:pt>
                <c:pt idx="37">
                  <c:v>0</c:v>
                </c:pt>
                <c:pt idx="38">
                  <c:v>0.15</c:v>
                </c:pt>
                <c:pt idx="39">
                  <c:v>0</c:v>
                </c:pt>
                <c:pt idx="40">
                  <c:v>0.15</c:v>
                </c:pt>
                <c:pt idx="41">
                  <c:v>0</c:v>
                </c:pt>
                <c:pt idx="42">
                  <c:v>0.15</c:v>
                </c:pt>
                <c:pt idx="43">
                  <c:v>0.05</c:v>
                </c:pt>
                <c:pt idx="44">
                  <c:v>0.1</c:v>
                </c:pt>
                <c:pt idx="45">
                  <c:v>0.25</c:v>
                </c:pt>
                <c:pt idx="46">
                  <c:v>0.25</c:v>
                </c:pt>
                <c:pt idx="47">
                  <c:v>0.2</c:v>
                </c:pt>
                <c:pt idx="48">
                  <c:v>0.2</c:v>
                </c:pt>
                <c:pt idx="49">
                  <c:v>0.05</c:v>
                </c:pt>
                <c:pt idx="50">
                  <c:v>-0.05</c:v>
                </c:pt>
                <c:pt idx="51">
                  <c:v>-0.05</c:v>
                </c:pt>
                <c:pt idx="52">
                  <c:v>0.2</c:v>
                </c:pt>
                <c:pt idx="53">
                  <c:v>0.05</c:v>
                </c:pt>
                <c:pt idx="54">
                  <c:v>0.15</c:v>
                </c:pt>
                <c:pt idx="55">
                  <c:v>0.1</c:v>
                </c:pt>
                <c:pt idx="56">
                  <c:v>0.1</c:v>
                </c:pt>
                <c:pt idx="57">
                  <c:v>0.1</c:v>
                </c:pt>
                <c:pt idx="58">
                  <c:v>0.2</c:v>
                </c:pt>
                <c:pt idx="59">
                  <c:v>0.2</c:v>
                </c:pt>
                <c:pt idx="60">
                  <c:v>0.2</c:v>
                </c:pt>
                <c:pt idx="61">
                  <c:v>0.2</c:v>
                </c:pt>
                <c:pt idx="62">
                  <c:v>0.2</c:v>
                </c:pt>
                <c:pt idx="63">
                  <c:v>0.15</c:v>
                </c:pt>
                <c:pt idx="64">
                  <c:v>0.15</c:v>
                </c:pt>
                <c:pt idx="65">
                  <c:v>0.05</c:v>
                </c:pt>
                <c:pt idx="66">
                  <c:v>0.05</c:v>
                </c:pt>
                <c:pt idx="67">
                  <c:v>0</c:v>
                </c:pt>
                <c:pt idx="68">
                  <c:v>0.1</c:v>
                </c:pt>
                <c:pt idx="69">
                  <c:v>0.1</c:v>
                </c:pt>
                <c:pt idx="70">
                  <c:v>0.15</c:v>
                </c:pt>
                <c:pt idx="71">
                  <c:v>0.15</c:v>
                </c:pt>
                <c:pt idx="72">
                  <c:v>0.15</c:v>
                </c:pt>
                <c:pt idx="73">
                  <c:v>0.2</c:v>
                </c:pt>
                <c:pt idx="74">
                  <c:v>0.4</c:v>
                </c:pt>
                <c:pt idx="75">
                  <c:v>0.15</c:v>
                </c:pt>
                <c:pt idx="76">
                  <c:v>0.15</c:v>
                </c:pt>
                <c:pt idx="77">
                  <c:v>0</c:v>
                </c:pt>
                <c:pt idx="78">
                  <c:v>0</c:v>
                </c:pt>
                <c:pt idx="79">
                  <c:v>0</c:v>
                </c:pt>
                <c:pt idx="80">
                  <c:v>0</c:v>
                </c:pt>
                <c:pt idx="81">
                  <c:v>0</c:v>
                </c:pt>
                <c:pt idx="82">
                  <c:v>0</c:v>
                </c:pt>
                <c:pt idx="83">
                  <c:v>0.15</c:v>
                </c:pt>
                <c:pt idx="84">
                  <c:v>0.2</c:v>
                </c:pt>
                <c:pt idx="85">
                  <c:v>0.2</c:v>
                </c:pt>
                <c:pt idx="86">
                  <c:v>0.25</c:v>
                </c:pt>
                <c:pt idx="87">
                  <c:v>0.15</c:v>
                </c:pt>
                <c:pt idx="88">
                  <c:v>0.25</c:v>
                </c:pt>
                <c:pt idx="89">
                  <c:v>0.2</c:v>
                </c:pt>
                <c:pt idx="90">
                  <c:v>0.15</c:v>
                </c:pt>
                <c:pt idx="91">
                  <c:v>0.15</c:v>
                </c:pt>
                <c:pt idx="92">
                  <c:v>0.15</c:v>
                </c:pt>
                <c:pt idx="93">
                  <c:v>0.2</c:v>
                </c:pt>
                <c:pt idx="94">
                  <c:v>0.1</c:v>
                </c:pt>
                <c:pt idx="95">
                  <c:v>0.05</c:v>
                </c:pt>
                <c:pt idx="96">
                  <c:v>0.1</c:v>
                </c:pt>
                <c:pt idx="97">
                  <c:v>0.15</c:v>
                </c:pt>
                <c:pt idx="98">
                  <c:v>0.15</c:v>
                </c:pt>
                <c:pt idx="99">
                  <c:v>0.3</c:v>
                </c:pt>
                <c:pt idx="100">
                  <c:v>0.3</c:v>
                </c:pt>
                <c:pt idx="101">
                  <c:v>0.3</c:v>
                </c:pt>
                <c:pt idx="102">
                  <c:v>0.15</c:v>
                </c:pt>
                <c:pt idx="103">
                  <c:v>0</c:v>
                </c:pt>
                <c:pt idx="104">
                  <c:v>0</c:v>
                </c:pt>
                <c:pt idx="105">
                  <c:v>0</c:v>
                </c:pt>
                <c:pt idx="106">
                  <c:v>0.05</c:v>
                </c:pt>
                <c:pt idx="107">
                  <c:v>0.1</c:v>
                </c:pt>
                <c:pt idx="108">
                  <c:v>0.1</c:v>
                </c:pt>
                <c:pt idx="109">
                  <c:v>0.2</c:v>
                </c:pt>
                <c:pt idx="110">
                  <c:v>0.2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2</c:f>
              <c:numCache>
                <c:formatCode>General</c:formatCode>
                <c:ptCount val="111"/>
                <c:pt idx="0">
                  <c:v>23</c:v>
                </c:pt>
                <c:pt idx="1">
                  <c:v>23</c:v>
                </c:pt>
                <c:pt idx="2">
                  <c:v>22.5</c:v>
                </c:pt>
                <c:pt idx="3">
                  <c:v>22.5</c:v>
                </c:pt>
                <c:pt idx="4">
                  <c:v>23</c:v>
                </c:pt>
                <c:pt idx="5">
                  <c:v>22.5</c:v>
                </c:pt>
                <c:pt idx="6">
                  <c:v>23</c:v>
                </c:pt>
                <c:pt idx="7">
                  <c:v>22.5</c:v>
                </c:pt>
                <c:pt idx="8">
                  <c:v>23.5</c:v>
                </c:pt>
                <c:pt idx="9">
                  <c:v>22.5</c:v>
                </c:pt>
                <c:pt idx="10">
                  <c:v>24</c:v>
                </c:pt>
                <c:pt idx="11">
                  <c:v>22</c:v>
                </c:pt>
                <c:pt idx="12">
                  <c:v>22</c:v>
                </c:pt>
                <c:pt idx="13">
                  <c:v>24.5</c:v>
                </c:pt>
                <c:pt idx="14">
                  <c:v>24.5</c:v>
                </c:pt>
                <c:pt idx="15">
                  <c:v>22</c:v>
                </c:pt>
                <c:pt idx="16">
                  <c:v>20.5</c:v>
                </c:pt>
                <c:pt idx="17">
                  <c:v>19.5</c:v>
                </c:pt>
                <c:pt idx="18">
                  <c:v>19.5</c:v>
                </c:pt>
                <c:pt idx="19">
                  <c:v>19</c:v>
                </c:pt>
                <c:pt idx="20">
                  <c:v>18.5</c:v>
                </c:pt>
                <c:pt idx="21">
                  <c:v>19</c:v>
                </c:pt>
                <c:pt idx="22">
                  <c:v>20.5</c:v>
                </c:pt>
                <c:pt idx="23">
                  <c:v>20</c:v>
                </c:pt>
                <c:pt idx="24">
                  <c:v>21</c:v>
                </c:pt>
                <c:pt idx="25">
                  <c:v>21.5</c:v>
                </c:pt>
                <c:pt idx="26">
                  <c:v>18</c:v>
                </c:pt>
                <c:pt idx="27">
                  <c:v>18</c:v>
                </c:pt>
                <c:pt idx="28">
                  <c:v>19.5</c:v>
                </c:pt>
                <c:pt idx="29">
                  <c:v>18</c:v>
                </c:pt>
                <c:pt idx="30">
                  <c:v>19.5</c:v>
                </c:pt>
                <c:pt idx="31">
                  <c:v>19.5</c:v>
                </c:pt>
                <c:pt idx="32">
                  <c:v>19.5</c:v>
                </c:pt>
                <c:pt idx="33">
                  <c:v>22</c:v>
                </c:pt>
                <c:pt idx="34">
                  <c:v>22.5</c:v>
                </c:pt>
                <c:pt idx="35">
                  <c:v>22.5</c:v>
                </c:pt>
                <c:pt idx="36">
                  <c:v>22</c:v>
                </c:pt>
                <c:pt idx="37">
                  <c:v>22.5</c:v>
                </c:pt>
                <c:pt idx="38">
                  <c:v>21</c:v>
                </c:pt>
                <c:pt idx="39">
                  <c:v>22.5</c:v>
                </c:pt>
                <c:pt idx="40">
                  <c:v>21</c:v>
                </c:pt>
                <c:pt idx="41">
                  <c:v>22.5</c:v>
                </c:pt>
                <c:pt idx="42">
                  <c:v>20.5</c:v>
                </c:pt>
                <c:pt idx="43">
                  <c:v>21</c:v>
                </c:pt>
                <c:pt idx="44">
                  <c:v>20</c:v>
                </c:pt>
                <c:pt idx="45">
                  <c:v>15</c:v>
                </c:pt>
                <c:pt idx="46">
                  <c:v>19</c:v>
                </c:pt>
                <c:pt idx="47">
                  <c:v>16.5</c:v>
                </c:pt>
                <c:pt idx="48">
                  <c:v>19.5</c:v>
                </c:pt>
                <c:pt idx="49">
                  <c:v>19.5</c:v>
                </c:pt>
                <c:pt idx="50">
                  <c:v>21</c:v>
                </c:pt>
                <c:pt idx="51">
                  <c:v>21</c:v>
                </c:pt>
                <c:pt idx="52">
                  <c:v>19</c:v>
                </c:pt>
                <c:pt idx="53">
                  <c:v>19</c:v>
                </c:pt>
                <c:pt idx="54">
                  <c:v>20</c:v>
                </c:pt>
                <c:pt idx="55">
                  <c:v>22.5</c:v>
                </c:pt>
                <c:pt idx="56">
                  <c:v>18</c:v>
                </c:pt>
                <c:pt idx="57">
                  <c:v>18</c:v>
                </c:pt>
                <c:pt idx="58">
                  <c:v>16.5</c:v>
                </c:pt>
                <c:pt idx="59">
                  <c:v>16.5</c:v>
                </c:pt>
                <c:pt idx="60">
                  <c:v>16.5</c:v>
                </c:pt>
                <c:pt idx="61">
                  <c:v>16.5</c:v>
                </c:pt>
                <c:pt idx="62">
                  <c:v>16</c:v>
                </c:pt>
                <c:pt idx="63">
                  <c:v>17.5</c:v>
                </c:pt>
                <c:pt idx="64">
                  <c:v>20</c:v>
                </c:pt>
                <c:pt idx="65">
                  <c:v>19.5</c:v>
                </c:pt>
                <c:pt idx="66">
                  <c:v>21</c:v>
                </c:pt>
                <c:pt idx="67">
                  <c:v>20</c:v>
                </c:pt>
                <c:pt idx="68">
                  <c:v>18.5</c:v>
                </c:pt>
                <c:pt idx="69">
                  <c:v>18.5</c:v>
                </c:pt>
                <c:pt idx="70">
                  <c:v>21.5</c:v>
                </c:pt>
                <c:pt idx="71">
                  <c:v>17</c:v>
                </c:pt>
                <c:pt idx="72">
                  <c:v>20.5</c:v>
                </c:pt>
                <c:pt idx="73">
                  <c:v>16</c:v>
                </c:pt>
                <c:pt idx="74">
                  <c:v>15</c:v>
                </c:pt>
                <c:pt idx="75">
                  <c:v>17.5</c:v>
                </c:pt>
                <c:pt idx="76">
                  <c:v>21.5</c:v>
                </c:pt>
                <c:pt idx="77">
                  <c:v>20</c:v>
                </c:pt>
                <c:pt idx="78">
                  <c:v>20</c:v>
                </c:pt>
                <c:pt idx="79">
                  <c:v>20</c:v>
                </c:pt>
                <c:pt idx="80">
                  <c:v>20</c:v>
                </c:pt>
                <c:pt idx="81">
                  <c:v>20.5</c:v>
                </c:pt>
                <c:pt idx="82">
                  <c:v>20</c:v>
                </c:pt>
                <c:pt idx="83">
                  <c:v>17.5</c:v>
                </c:pt>
                <c:pt idx="84">
                  <c:v>21</c:v>
                </c:pt>
                <c:pt idx="85">
                  <c:v>16</c:v>
                </c:pt>
                <c:pt idx="86">
                  <c:v>20</c:v>
                </c:pt>
                <c:pt idx="87">
                  <c:v>17.5</c:v>
                </c:pt>
                <c:pt idx="88">
                  <c:v>20</c:v>
                </c:pt>
                <c:pt idx="89">
                  <c:v>16.5</c:v>
                </c:pt>
                <c:pt idx="90">
                  <c:v>21.5</c:v>
                </c:pt>
                <c:pt idx="91">
                  <c:v>16.5</c:v>
                </c:pt>
                <c:pt idx="92">
                  <c:v>16.5</c:v>
                </c:pt>
                <c:pt idx="93">
                  <c:v>16.5</c:v>
                </c:pt>
                <c:pt idx="94">
                  <c:v>18.5</c:v>
                </c:pt>
                <c:pt idx="95">
                  <c:v>19.5</c:v>
                </c:pt>
                <c:pt idx="96">
                  <c:v>18</c:v>
                </c:pt>
                <c:pt idx="97">
                  <c:v>17</c:v>
                </c:pt>
                <c:pt idx="98">
                  <c:v>17.5</c:v>
                </c:pt>
                <c:pt idx="99">
                  <c:v>14</c:v>
                </c:pt>
                <c:pt idx="100">
                  <c:v>14</c:v>
                </c:pt>
                <c:pt idx="101">
                  <c:v>14</c:v>
                </c:pt>
                <c:pt idx="102">
                  <c:v>16.5</c:v>
                </c:pt>
                <c:pt idx="103">
                  <c:v>20</c:v>
                </c:pt>
                <c:pt idx="104">
                  <c:v>20</c:v>
                </c:pt>
                <c:pt idx="105">
                  <c:v>20</c:v>
                </c:pt>
                <c:pt idx="106">
                  <c:v>19</c:v>
                </c:pt>
                <c:pt idx="107">
                  <c:v>18.5</c:v>
                </c:pt>
                <c:pt idx="108">
                  <c:v>18</c:v>
                </c:pt>
                <c:pt idx="109">
                  <c:v>16</c:v>
                </c:pt>
                <c:pt idx="110">
                  <c:v>15.5</c:v>
                </c:pt>
              </c:numCache>
            </c:numRef>
          </c:xVal>
          <c:yVal>
            <c:numRef>
              <c:f>Sheet1!$B$2:$B$112</c:f>
              <c:numCache>
                <c:formatCode>General</c:formatCode>
                <c:ptCount val="111"/>
                <c:pt idx="0">
                  <c:v>0</c:v>
                </c:pt>
                <c:pt idx="1">
                  <c:v>0</c:v>
                </c:pt>
                <c:pt idx="2">
                  <c:v>0</c:v>
                </c:pt>
                <c:pt idx="3">
                  <c:v>0.95101550428201032</c:v>
                </c:pt>
                <c:pt idx="4">
                  <c:v>0.1716414696127837</c:v>
                </c:pt>
                <c:pt idx="5">
                  <c:v>0.82740869479809231</c:v>
                </c:pt>
                <c:pt idx="6">
                  <c:v>0.19561050412114239</c:v>
                </c:pt>
                <c:pt idx="7">
                  <c:v>0.91830716259823675</c:v>
                </c:pt>
                <c:pt idx="8">
                  <c:v>0.22496310352097831</c:v>
                </c:pt>
                <c:pt idx="9">
                  <c:v>0.72794078990602629</c:v>
                </c:pt>
                <c:pt idx="10">
                  <c:v>0.1182992202729045</c:v>
                </c:pt>
                <c:pt idx="11">
                  <c:v>0</c:v>
                </c:pt>
                <c:pt idx="12">
                  <c:v>0</c:v>
                </c:pt>
                <c:pt idx="13">
                  <c:v>0</c:v>
                </c:pt>
                <c:pt idx="14">
                  <c:v>0</c:v>
                </c:pt>
                <c:pt idx="15">
                  <c:v>0.26327319574926539</c:v>
                </c:pt>
                <c:pt idx="16">
                  <c:v>0.41861658895495568</c:v>
                </c:pt>
                <c:pt idx="17">
                  <c:v>5.9712660879976058E-2</c:v>
                </c:pt>
                <c:pt idx="18">
                  <c:v>0.43141486308114563</c:v>
                </c:pt>
                <c:pt idx="19">
                  <c:v>0.22591692202432509</c:v>
                </c:pt>
                <c:pt idx="20">
                  <c:v>0.14423589382892399</c:v>
                </c:pt>
                <c:pt idx="21">
                  <c:v>2.2850767246750611E-2</c:v>
                </c:pt>
                <c:pt idx="22">
                  <c:v>0.30478393439175688</c:v>
                </c:pt>
                <c:pt idx="23">
                  <c:v>0.28285143518031752</c:v>
                </c:pt>
                <c:pt idx="24">
                  <c:v>0.29759768824552901</c:v>
                </c:pt>
                <c:pt idx="25">
                  <c:v>0.4392808327200084</c:v>
                </c:pt>
                <c:pt idx="26">
                  <c:v>0.1445637238373885</c:v>
                </c:pt>
                <c:pt idx="27">
                  <c:v>0.1555106862549207</c:v>
                </c:pt>
                <c:pt idx="28">
                  <c:v>0.56810078440694078</c:v>
                </c:pt>
                <c:pt idx="29">
                  <c:v>0.1123952804947585</c:v>
                </c:pt>
                <c:pt idx="30">
                  <c:v>0.46799707958140668</c:v>
                </c:pt>
                <c:pt idx="31">
                  <c:v>0.19200704713331959</c:v>
                </c:pt>
                <c:pt idx="32">
                  <c:v>0.37372226377461981</c:v>
                </c:pt>
                <c:pt idx="33">
                  <c:v>0</c:v>
                </c:pt>
                <c:pt idx="34">
                  <c:v>0</c:v>
                </c:pt>
                <c:pt idx="35">
                  <c:v>0</c:v>
                </c:pt>
                <c:pt idx="36">
                  <c:v>0</c:v>
                </c:pt>
                <c:pt idx="37">
                  <c:v>0.29884378116803961</c:v>
                </c:pt>
                <c:pt idx="38">
                  <c:v>0.21918678526048291</c:v>
                </c:pt>
                <c:pt idx="39">
                  <c:v>0.50350999303967381</c:v>
                </c:pt>
                <c:pt idx="40">
                  <c:v>0.33663138518177632</c:v>
                </c:pt>
                <c:pt idx="41">
                  <c:v>0.29848272596334069</c:v>
                </c:pt>
                <c:pt idx="42">
                  <c:v>9.3392481905206631E-2</c:v>
                </c:pt>
                <c:pt idx="43">
                  <c:v>0</c:v>
                </c:pt>
                <c:pt idx="44">
                  <c:v>0</c:v>
                </c:pt>
                <c:pt idx="45">
                  <c:v>2.8299389002036661</c:v>
                </c:pt>
                <c:pt idx="46">
                  <c:v>0.27314601566098567</c:v>
                </c:pt>
                <c:pt idx="47">
                  <c:v>2.3436324893457008</c:v>
                </c:pt>
                <c:pt idx="48">
                  <c:v>0.31516853932584271</c:v>
                </c:pt>
                <c:pt idx="49">
                  <c:v>1.3153346297965181</c:v>
                </c:pt>
                <c:pt idx="50">
                  <c:v>0</c:v>
                </c:pt>
                <c:pt idx="51">
                  <c:v>0</c:v>
                </c:pt>
                <c:pt idx="52">
                  <c:v>1.0202798100372219</c:v>
                </c:pt>
                <c:pt idx="53">
                  <c:v>0.2589450219781973</c:v>
                </c:pt>
                <c:pt idx="54">
                  <c:v>1.5109596662683611E-2</c:v>
                </c:pt>
                <c:pt idx="55">
                  <c:v>4.8875855327468229E-2</c:v>
                </c:pt>
                <c:pt idx="56">
                  <c:v>0.41032295159926591</c:v>
                </c:pt>
                <c:pt idx="57">
                  <c:v>0.1527795407908015</c:v>
                </c:pt>
                <c:pt idx="58">
                  <c:v>0.32962399638010598</c:v>
                </c:pt>
                <c:pt idx="59">
                  <c:v>0.33612855636587669</c:v>
                </c:pt>
                <c:pt idx="60">
                  <c:v>0.28469611721882598</c:v>
                </c:pt>
                <c:pt idx="61">
                  <c:v>0.33809862977047589</c:v>
                </c:pt>
                <c:pt idx="62">
                  <c:v>6.7286432160804024</c:v>
                </c:pt>
                <c:pt idx="63">
                  <c:v>0.3674021782338685</c:v>
                </c:pt>
                <c:pt idx="64">
                  <c:v>0.64241803278688525</c:v>
                </c:pt>
                <c:pt idx="65">
                  <c:v>0.28910423797400969</c:v>
                </c:pt>
                <c:pt idx="66">
                  <c:v>0.4551512728242037</c:v>
                </c:pt>
                <c:pt idx="67">
                  <c:v>0</c:v>
                </c:pt>
                <c:pt idx="68">
                  <c:v>0</c:v>
                </c:pt>
                <c:pt idx="69">
                  <c:v>0.42976096248219092</c:v>
                </c:pt>
                <c:pt idx="70">
                  <c:v>0.28962312854930311</c:v>
                </c:pt>
                <c:pt idx="71">
                  <c:v>0.55645329596613102</c:v>
                </c:pt>
                <c:pt idx="72">
                  <c:v>0.45638359329867129</c:v>
                </c:pt>
                <c:pt idx="73">
                  <c:v>0.67329652221676162</c:v>
                </c:pt>
                <c:pt idx="74">
                  <c:v>0.19559228650137739</c:v>
                </c:pt>
                <c:pt idx="75">
                  <c:v>0.40221342158086038</c:v>
                </c:pt>
                <c:pt idx="76">
                  <c:v>0.1166335321404904</c:v>
                </c:pt>
                <c:pt idx="77">
                  <c:v>0</c:v>
                </c:pt>
                <c:pt idx="78">
                  <c:v>0</c:v>
                </c:pt>
                <c:pt idx="79">
                  <c:v>0</c:v>
                </c:pt>
                <c:pt idx="80">
                  <c:v>0</c:v>
                </c:pt>
                <c:pt idx="81">
                  <c:v>0</c:v>
                </c:pt>
                <c:pt idx="82">
                  <c:v>0</c:v>
                </c:pt>
                <c:pt idx="83">
                  <c:v>0.16352101506740679</c:v>
                </c:pt>
                <c:pt idx="84">
                  <c:v>0.34126258005489479</c:v>
                </c:pt>
                <c:pt idx="85">
                  <c:v>0.37395811627422382</c:v>
                </c:pt>
                <c:pt idx="86">
                  <c:v>0.28082191780821919</c:v>
                </c:pt>
                <c:pt idx="87">
                  <c:v>0.17932286353338989</c:v>
                </c:pt>
                <c:pt idx="88">
                  <c:v>0.35658153241650292</c:v>
                </c:pt>
                <c:pt idx="89">
                  <c:v>0.35662682254039141</c:v>
                </c:pt>
                <c:pt idx="90">
                  <c:v>0.59442332065906212</c:v>
                </c:pt>
                <c:pt idx="91">
                  <c:v>0.29465490561810631</c:v>
                </c:pt>
                <c:pt idx="92">
                  <c:v>0.1885021605819299</c:v>
                </c:pt>
                <c:pt idx="93">
                  <c:v>4.5980102178004842E-2</c:v>
                </c:pt>
                <c:pt idx="94">
                  <c:v>7.6580891575628501E-2</c:v>
                </c:pt>
                <c:pt idx="95">
                  <c:v>0.73210583671156437</c:v>
                </c:pt>
                <c:pt idx="96">
                  <c:v>0.76942216402029795</c:v>
                </c:pt>
                <c:pt idx="97">
                  <c:v>0.55383859878867248</c:v>
                </c:pt>
                <c:pt idx="98">
                  <c:v>8.4968917854224224E-2</c:v>
                </c:pt>
                <c:pt idx="99">
                  <c:v>0.40282842391439899</c:v>
                </c:pt>
                <c:pt idx="100">
                  <c:v>0.454243001827634</c:v>
                </c:pt>
                <c:pt idx="101">
                  <c:v>0.42450136424205248</c:v>
                </c:pt>
                <c:pt idx="102">
                  <c:v>0.20859073370271369</c:v>
                </c:pt>
                <c:pt idx="103">
                  <c:v>0</c:v>
                </c:pt>
                <c:pt idx="104">
                  <c:v>0</c:v>
                </c:pt>
                <c:pt idx="105">
                  <c:v>0</c:v>
                </c:pt>
                <c:pt idx="106">
                  <c:v>0.2472286865350449</c:v>
                </c:pt>
                <c:pt idx="107">
                  <c:v>0.43076439461413529</c:v>
                </c:pt>
                <c:pt idx="108">
                  <c:v>0.2144255071323197</c:v>
                </c:pt>
                <c:pt idx="109">
                  <c:v>0.16420787098054221</c:v>
                </c:pt>
                <c:pt idx="110">
                  <c:v>0.105636772760079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9.4"/>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0.1</c:v>
                </c:pt>
                <c:pt idx="1">
                  <c:v>0.1</c:v>
                </c:pt>
                <c:pt idx="2">
                  <c:v>0.05</c:v>
                </c:pt>
                <c:pt idx="3">
                  <c:v>0.05</c:v>
                </c:pt>
                <c:pt idx="4">
                  <c:v>0.05</c:v>
                </c:pt>
                <c:pt idx="5">
                  <c:v>0.1</c:v>
                </c:pt>
                <c:pt idx="6">
                  <c:v>0.1</c:v>
                </c:pt>
                <c:pt idx="7">
                  <c:v>0.1</c:v>
                </c:pt>
                <c:pt idx="8">
                  <c:v>0.1</c:v>
                </c:pt>
                <c:pt idx="9">
                  <c:v>0.1</c:v>
                </c:pt>
                <c:pt idx="10">
                  <c:v>0.1</c:v>
                </c:pt>
                <c:pt idx="11">
                  <c:v>0.1</c:v>
                </c:pt>
                <c:pt idx="12">
                  <c:v>0.1</c:v>
                </c:pt>
                <c:pt idx="13">
                  <c:v>0.1</c:v>
                </c:pt>
                <c:pt idx="14">
                  <c:v>0.1</c:v>
                </c:pt>
                <c:pt idx="15">
                  <c:v>0.1</c:v>
                </c:pt>
                <c:pt idx="16">
                  <c:v>0.1</c:v>
                </c:pt>
                <c:pt idx="17">
                  <c:v>0.1</c:v>
                </c:pt>
                <c:pt idx="18">
                  <c:v>0</c:v>
                </c:pt>
                <c:pt idx="19">
                  <c:v>0.1</c:v>
                </c:pt>
                <c:pt idx="20">
                  <c:v>0</c:v>
                </c:pt>
                <c:pt idx="21">
                  <c:v>0</c:v>
                </c:pt>
                <c:pt idx="22">
                  <c:v>0.05</c:v>
                </c:pt>
                <c:pt idx="23">
                  <c:v>0</c:v>
                </c:pt>
                <c:pt idx="24">
                  <c:v>0</c:v>
                </c:pt>
                <c:pt idx="25">
                  <c:v>0</c:v>
                </c:pt>
                <c:pt idx="26">
                  <c:v>0.1</c:v>
                </c:pt>
                <c:pt idx="27">
                  <c:v>0</c:v>
                </c:pt>
                <c:pt idx="28">
                  <c:v>0</c:v>
                </c:pt>
                <c:pt idx="29">
                  <c:v>0.1</c:v>
                </c:pt>
                <c:pt idx="30">
                  <c:v>0</c:v>
                </c:pt>
                <c:pt idx="31">
                  <c:v>0.1</c:v>
                </c:pt>
                <c:pt idx="32">
                  <c:v>0</c:v>
                </c:pt>
                <c:pt idx="33">
                  <c:v>0.15</c:v>
                </c:pt>
                <c:pt idx="34">
                  <c:v>0.1</c:v>
                </c:pt>
                <c:pt idx="35">
                  <c:v>0.05</c:v>
                </c:pt>
                <c:pt idx="36">
                  <c:v>0.55000000000000004</c:v>
                </c:pt>
                <c:pt idx="37">
                  <c:v>0</c:v>
                </c:pt>
                <c:pt idx="38">
                  <c:v>0.55000000000000004</c:v>
                </c:pt>
                <c:pt idx="39">
                  <c:v>0.5</c:v>
                </c:pt>
                <c:pt idx="40">
                  <c:v>0</c:v>
                </c:pt>
                <c:pt idx="41">
                  <c:v>0.4</c:v>
                </c:pt>
                <c:pt idx="42">
                  <c:v>0.1</c:v>
                </c:pt>
                <c:pt idx="43">
                  <c:v>0.05</c:v>
                </c:pt>
                <c:pt idx="44">
                  <c:v>0.05</c:v>
                </c:pt>
                <c:pt idx="45">
                  <c:v>0.05</c:v>
                </c:pt>
                <c:pt idx="46">
                  <c:v>0</c:v>
                </c:pt>
                <c:pt idx="47">
                  <c:v>0.05</c:v>
                </c:pt>
                <c:pt idx="48">
                  <c:v>0.15</c:v>
                </c:pt>
                <c:pt idx="49">
                  <c:v>0.15</c:v>
                </c:pt>
                <c:pt idx="50">
                  <c:v>0.05</c:v>
                </c:pt>
                <c:pt idx="51">
                  <c:v>0.05</c:v>
                </c:pt>
                <c:pt idx="52">
                  <c:v>0.1</c:v>
                </c:pt>
                <c:pt idx="53">
                  <c:v>0.05</c:v>
                </c:pt>
                <c:pt idx="54">
                  <c:v>0.05</c:v>
                </c:pt>
                <c:pt idx="55">
                  <c:v>0.1</c:v>
                </c:pt>
                <c:pt idx="56">
                  <c:v>0</c:v>
                </c:pt>
                <c:pt idx="57">
                  <c:v>0.05</c:v>
                </c:pt>
                <c:pt idx="58">
                  <c:v>0.05</c:v>
                </c:pt>
                <c:pt idx="59">
                  <c:v>0.05</c:v>
                </c:pt>
                <c:pt idx="60">
                  <c:v>0.1</c:v>
                </c:pt>
                <c:pt idx="61">
                  <c:v>0.15</c:v>
                </c:pt>
                <c:pt idx="62">
                  <c:v>0.05</c:v>
                </c:pt>
                <c:pt idx="63">
                  <c:v>0</c:v>
                </c:pt>
                <c:pt idx="64">
                  <c:v>0.1</c:v>
                </c:pt>
                <c:pt idx="65">
                  <c:v>0.1</c:v>
                </c:pt>
                <c:pt idx="66">
                  <c:v>0.05</c:v>
                </c:pt>
                <c:pt idx="67">
                  <c:v>0</c:v>
                </c:pt>
                <c:pt idx="68">
                  <c:v>0.2</c:v>
                </c:pt>
                <c:pt idx="69">
                  <c:v>0.05</c:v>
                </c:pt>
                <c:pt idx="70">
                  <c:v>0.1</c:v>
                </c:pt>
                <c:pt idx="71">
                  <c:v>0.05</c:v>
                </c:pt>
                <c:pt idx="72">
                  <c:v>0.2</c:v>
                </c:pt>
                <c:pt idx="73">
                  <c:v>0.25</c:v>
                </c:pt>
                <c:pt idx="74">
                  <c:v>0.05</c:v>
                </c:pt>
                <c:pt idx="75">
                  <c:v>0.1</c:v>
                </c:pt>
                <c:pt idx="76">
                  <c:v>0.1</c:v>
                </c:pt>
                <c:pt idx="77">
                  <c:v>0.15</c:v>
                </c:pt>
                <c:pt idx="78">
                  <c:v>0.05</c:v>
                </c:pt>
                <c:pt idx="79">
                  <c:v>0.15</c:v>
                </c:pt>
                <c:pt idx="80">
                  <c:v>0.05</c:v>
                </c:pt>
                <c:pt idx="81">
                  <c:v>0.15</c:v>
                </c:pt>
                <c:pt idx="82">
                  <c:v>0.1</c:v>
                </c:pt>
                <c:pt idx="83">
                  <c:v>0</c:v>
                </c:pt>
                <c:pt idx="84">
                  <c:v>0.05</c:v>
                </c:pt>
                <c:pt idx="85">
                  <c:v>0.2</c:v>
                </c:pt>
                <c:pt idx="86">
                  <c:v>0.05</c:v>
                </c:pt>
                <c:pt idx="87">
                  <c:v>0.05</c:v>
                </c:pt>
                <c:pt idx="88">
                  <c:v>0.1</c:v>
                </c:pt>
                <c:pt idx="89">
                  <c:v>0.1</c:v>
                </c:pt>
                <c:pt idx="90">
                  <c:v>0.05</c:v>
                </c:pt>
                <c:pt idx="91">
                  <c:v>0.1</c:v>
                </c:pt>
                <c:pt idx="92">
                  <c:v>0.15</c:v>
                </c:pt>
                <c:pt idx="93">
                  <c:v>0.05</c:v>
                </c:pt>
                <c:pt idx="94">
                  <c:v>0</c:v>
                </c:pt>
                <c:pt idx="95">
                  <c:v>0.05</c:v>
                </c:pt>
                <c:pt idx="96">
                  <c:v>0.1</c:v>
                </c:pt>
                <c:pt idx="97">
                  <c:v>0.05</c:v>
                </c:pt>
                <c:pt idx="98">
                  <c:v>0.2</c:v>
                </c:pt>
                <c:pt idx="99">
                  <c:v>0.05</c:v>
                </c:pt>
                <c:pt idx="100">
                  <c:v>0.15</c:v>
                </c:pt>
                <c:pt idx="101">
                  <c:v>0.1</c:v>
                </c:pt>
                <c:pt idx="102">
                  <c:v>0.05</c:v>
                </c:pt>
                <c:pt idx="103">
                  <c:v>0</c:v>
                </c:pt>
                <c:pt idx="104">
                  <c:v>0.1</c:v>
                </c:pt>
                <c:pt idx="105">
                  <c:v>0.05</c:v>
                </c:pt>
                <c:pt idx="106">
                  <c:v>0.25</c:v>
                </c:pt>
                <c:pt idx="107">
                  <c:v>0.1</c:v>
                </c:pt>
                <c:pt idx="108">
                  <c:v>0</c:v>
                </c:pt>
                <c:pt idx="109">
                  <c:v>0.05</c:v>
                </c:pt>
                <c:pt idx="110">
                  <c:v>0.05</c:v>
                </c:pt>
                <c:pt idx="111">
                  <c:v>0.15</c:v>
                </c:pt>
                <c:pt idx="112">
                  <c:v>0</c:v>
                </c:pt>
                <c:pt idx="113">
                  <c:v>0</c:v>
                </c:pt>
                <c:pt idx="114">
                  <c:v>0.1</c:v>
                </c:pt>
                <c:pt idx="115">
                  <c:v>0.05</c:v>
                </c:pt>
                <c:pt idx="116">
                  <c:v>0.1</c:v>
                </c:pt>
                <c:pt idx="117">
                  <c:v>0</c:v>
                </c:pt>
                <c:pt idx="118">
                  <c:v>0</c:v>
                </c:pt>
                <c:pt idx="119">
                  <c:v>0</c:v>
                </c:pt>
                <c:pt idx="120">
                  <c:v>0</c:v>
                </c:pt>
                <c:pt idx="121">
                  <c:v>0</c:v>
                </c:pt>
                <c:pt idx="122">
                  <c:v>0</c:v>
                </c:pt>
                <c:pt idx="123">
                  <c:v>0.05</c:v>
                </c:pt>
                <c:pt idx="124">
                  <c:v>0.05</c:v>
                </c:pt>
                <c:pt idx="125">
                  <c:v>0.05</c:v>
                </c:pt>
                <c:pt idx="126">
                  <c:v>0.05</c:v>
                </c:pt>
                <c:pt idx="127">
                  <c:v>0</c:v>
                </c:pt>
                <c:pt idx="128">
                  <c:v>0.2</c:v>
                </c:pt>
                <c:pt idx="129">
                  <c:v>0.1</c:v>
                </c:pt>
                <c:pt idx="130">
                  <c:v>0.2</c:v>
                </c:pt>
                <c:pt idx="131">
                  <c:v>0.05</c:v>
                </c:pt>
                <c:pt idx="132">
                  <c:v>0</c:v>
                </c:pt>
                <c:pt idx="133">
                  <c:v>0</c:v>
                </c:pt>
                <c:pt idx="134">
                  <c:v>0.1</c:v>
                </c:pt>
                <c:pt idx="135">
                  <c:v>0.05</c:v>
                </c:pt>
                <c:pt idx="136">
                  <c:v>0</c:v>
                </c:pt>
                <c:pt idx="137">
                  <c:v>0.3</c:v>
                </c:pt>
                <c:pt idx="138">
                  <c:v>0.05</c:v>
                </c:pt>
                <c:pt idx="139">
                  <c:v>0.1</c:v>
                </c:pt>
                <c:pt idx="140">
                  <c:v>0.1</c:v>
                </c:pt>
                <c:pt idx="141">
                  <c:v>0.05</c:v>
                </c:pt>
                <c:pt idx="142">
                  <c:v>0.1</c:v>
                </c:pt>
                <c:pt idx="143">
                  <c:v>0.2</c:v>
                </c:pt>
                <c:pt idx="144">
                  <c:v>0.05</c:v>
                </c:pt>
                <c:pt idx="145">
                  <c:v>0.1</c:v>
                </c:pt>
                <c:pt idx="146">
                  <c:v>0.05</c:v>
                </c:pt>
                <c:pt idx="147">
                  <c:v>0.1</c:v>
                </c:pt>
                <c:pt idx="148">
                  <c:v>0.05</c:v>
                </c:pt>
                <c:pt idx="149">
                  <c:v>0.2</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1</c:f>
              <c:numCache>
                <c:formatCode>General</c:formatCode>
                <c:ptCount val="150"/>
                <c:pt idx="0">
                  <c:v>6</c:v>
                </c:pt>
                <c:pt idx="1">
                  <c:v>10</c:v>
                </c:pt>
                <c:pt idx="2">
                  <c:v>6</c:v>
                </c:pt>
                <c:pt idx="3">
                  <c:v>6</c:v>
                </c:pt>
                <c:pt idx="4">
                  <c:v>10</c:v>
                </c:pt>
                <c:pt idx="5">
                  <c:v>6</c:v>
                </c:pt>
                <c:pt idx="6">
                  <c:v>10</c:v>
                </c:pt>
                <c:pt idx="7">
                  <c:v>6</c:v>
                </c:pt>
                <c:pt idx="8">
                  <c:v>6</c:v>
                </c:pt>
                <c:pt idx="9">
                  <c:v>6</c:v>
                </c:pt>
                <c:pt idx="10">
                  <c:v>6</c:v>
                </c:pt>
                <c:pt idx="11">
                  <c:v>6</c:v>
                </c:pt>
                <c:pt idx="12">
                  <c:v>6</c:v>
                </c:pt>
                <c:pt idx="13">
                  <c:v>6</c:v>
                </c:pt>
                <c:pt idx="14">
                  <c:v>6</c:v>
                </c:pt>
                <c:pt idx="15">
                  <c:v>6</c:v>
                </c:pt>
                <c:pt idx="16">
                  <c:v>6</c:v>
                </c:pt>
                <c:pt idx="17">
                  <c:v>6</c:v>
                </c:pt>
                <c:pt idx="18">
                  <c:v>10</c:v>
                </c:pt>
                <c:pt idx="19">
                  <c:v>6</c:v>
                </c:pt>
                <c:pt idx="20">
                  <c:v>10</c:v>
                </c:pt>
                <c:pt idx="21">
                  <c:v>10</c:v>
                </c:pt>
                <c:pt idx="22">
                  <c:v>6</c:v>
                </c:pt>
                <c:pt idx="23">
                  <c:v>10</c:v>
                </c:pt>
                <c:pt idx="24">
                  <c:v>10</c:v>
                </c:pt>
                <c:pt idx="25">
                  <c:v>10</c:v>
                </c:pt>
                <c:pt idx="26">
                  <c:v>10</c:v>
                </c:pt>
                <c:pt idx="27">
                  <c:v>10</c:v>
                </c:pt>
                <c:pt idx="28">
                  <c:v>10</c:v>
                </c:pt>
                <c:pt idx="29">
                  <c:v>6</c:v>
                </c:pt>
                <c:pt idx="30">
                  <c:v>10.5</c:v>
                </c:pt>
                <c:pt idx="31">
                  <c:v>6</c:v>
                </c:pt>
                <c:pt idx="32">
                  <c:v>10</c:v>
                </c:pt>
                <c:pt idx="33">
                  <c:v>5.5</c:v>
                </c:pt>
                <c:pt idx="34">
                  <c:v>6</c:v>
                </c:pt>
                <c:pt idx="35">
                  <c:v>10.5</c:v>
                </c:pt>
                <c:pt idx="36">
                  <c:v>3</c:v>
                </c:pt>
                <c:pt idx="37">
                  <c:v>10</c:v>
                </c:pt>
                <c:pt idx="38">
                  <c:v>5</c:v>
                </c:pt>
                <c:pt idx="39">
                  <c:v>3</c:v>
                </c:pt>
                <c:pt idx="40">
                  <c:v>10</c:v>
                </c:pt>
                <c:pt idx="41">
                  <c:v>6</c:v>
                </c:pt>
                <c:pt idx="42">
                  <c:v>6</c:v>
                </c:pt>
                <c:pt idx="43">
                  <c:v>6.5</c:v>
                </c:pt>
                <c:pt idx="44">
                  <c:v>10.5</c:v>
                </c:pt>
                <c:pt idx="45">
                  <c:v>14</c:v>
                </c:pt>
                <c:pt idx="46">
                  <c:v>6.5</c:v>
                </c:pt>
                <c:pt idx="47">
                  <c:v>6</c:v>
                </c:pt>
                <c:pt idx="48">
                  <c:v>9.5</c:v>
                </c:pt>
                <c:pt idx="49">
                  <c:v>13</c:v>
                </c:pt>
                <c:pt idx="50">
                  <c:v>6.5</c:v>
                </c:pt>
                <c:pt idx="51">
                  <c:v>6</c:v>
                </c:pt>
                <c:pt idx="52">
                  <c:v>10</c:v>
                </c:pt>
                <c:pt idx="53">
                  <c:v>14.5</c:v>
                </c:pt>
                <c:pt idx="54">
                  <c:v>6</c:v>
                </c:pt>
                <c:pt idx="55">
                  <c:v>6</c:v>
                </c:pt>
                <c:pt idx="56">
                  <c:v>11</c:v>
                </c:pt>
                <c:pt idx="57">
                  <c:v>14.5</c:v>
                </c:pt>
                <c:pt idx="58">
                  <c:v>6</c:v>
                </c:pt>
                <c:pt idx="59">
                  <c:v>6</c:v>
                </c:pt>
                <c:pt idx="60">
                  <c:v>10</c:v>
                </c:pt>
                <c:pt idx="61">
                  <c:v>12.5</c:v>
                </c:pt>
                <c:pt idx="62">
                  <c:v>6.5</c:v>
                </c:pt>
                <c:pt idx="63">
                  <c:v>6.5</c:v>
                </c:pt>
                <c:pt idx="64">
                  <c:v>10</c:v>
                </c:pt>
                <c:pt idx="65">
                  <c:v>13.5</c:v>
                </c:pt>
                <c:pt idx="66">
                  <c:v>6</c:v>
                </c:pt>
                <c:pt idx="67">
                  <c:v>6.5</c:v>
                </c:pt>
                <c:pt idx="68">
                  <c:v>9</c:v>
                </c:pt>
                <c:pt idx="69">
                  <c:v>14.5</c:v>
                </c:pt>
                <c:pt idx="70">
                  <c:v>6</c:v>
                </c:pt>
                <c:pt idx="71">
                  <c:v>6</c:v>
                </c:pt>
                <c:pt idx="72">
                  <c:v>9</c:v>
                </c:pt>
                <c:pt idx="73">
                  <c:v>11</c:v>
                </c:pt>
                <c:pt idx="74">
                  <c:v>6</c:v>
                </c:pt>
                <c:pt idx="75">
                  <c:v>6</c:v>
                </c:pt>
                <c:pt idx="76">
                  <c:v>10</c:v>
                </c:pt>
                <c:pt idx="77">
                  <c:v>12.5</c:v>
                </c:pt>
                <c:pt idx="78">
                  <c:v>6</c:v>
                </c:pt>
                <c:pt idx="79">
                  <c:v>5.5</c:v>
                </c:pt>
                <c:pt idx="80">
                  <c:v>10.5</c:v>
                </c:pt>
                <c:pt idx="81">
                  <c:v>12.5</c:v>
                </c:pt>
                <c:pt idx="82">
                  <c:v>6</c:v>
                </c:pt>
                <c:pt idx="83">
                  <c:v>6.5</c:v>
                </c:pt>
                <c:pt idx="84">
                  <c:v>10.5</c:v>
                </c:pt>
                <c:pt idx="85">
                  <c:v>12</c:v>
                </c:pt>
                <c:pt idx="86">
                  <c:v>6.5</c:v>
                </c:pt>
                <c:pt idx="87">
                  <c:v>6</c:v>
                </c:pt>
                <c:pt idx="88">
                  <c:v>9.5</c:v>
                </c:pt>
                <c:pt idx="89">
                  <c:v>13.5</c:v>
                </c:pt>
                <c:pt idx="90">
                  <c:v>6</c:v>
                </c:pt>
                <c:pt idx="91">
                  <c:v>6</c:v>
                </c:pt>
                <c:pt idx="92">
                  <c:v>9.5</c:v>
                </c:pt>
                <c:pt idx="93">
                  <c:v>14.5</c:v>
                </c:pt>
                <c:pt idx="94">
                  <c:v>6.5</c:v>
                </c:pt>
                <c:pt idx="95">
                  <c:v>6.5</c:v>
                </c:pt>
                <c:pt idx="96">
                  <c:v>10</c:v>
                </c:pt>
                <c:pt idx="97">
                  <c:v>14</c:v>
                </c:pt>
                <c:pt idx="98">
                  <c:v>5.5</c:v>
                </c:pt>
                <c:pt idx="99">
                  <c:v>6</c:v>
                </c:pt>
                <c:pt idx="100">
                  <c:v>9.5</c:v>
                </c:pt>
                <c:pt idx="101">
                  <c:v>13.5</c:v>
                </c:pt>
                <c:pt idx="102">
                  <c:v>6.5</c:v>
                </c:pt>
                <c:pt idx="103">
                  <c:v>10</c:v>
                </c:pt>
                <c:pt idx="104">
                  <c:v>6</c:v>
                </c:pt>
                <c:pt idx="105">
                  <c:v>10.5</c:v>
                </c:pt>
                <c:pt idx="106">
                  <c:v>11</c:v>
                </c:pt>
                <c:pt idx="107">
                  <c:v>6</c:v>
                </c:pt>
                <c:pt idx="108">
                  <c:v>10</c:v>
                </c:pt>
                <c:pt idx="109">
                  <c:v>6</c:v>
                </c:pt>
                <c:pt idx="110">
                  <c:v>10.5</c:v>
                </c:pt>
                <c:pt idx="111">
                  <c:v>13</c:v>
                </c:pt>
                <c:pt idx="112">
                  <c:v>6.5</c:v>
                </c:pt>
                <c:pt idx="113">
                  <c:v>10</c:v>
                </c:pt>
                <c:pt idx="114">
                  <c:v>6</c:v>
                </c:pt>
                <c:pt idx="115">
                  <c:v>10.5</c:v>
                </c:pt>
                <c:pt idx="116">
                  <c:v>14</c:v>
                </c:pt>
                <c:pt idx="117">
                  <c:v>10</c:v>
                </c:pt>
                <c:pt idx="118">
                  <c:v>10</c:v>
                </c:pt>
                <c:pt idx="119">
                  <c:v>10</c:v>
                </c:pt>
                <c:pt idx="120">
                  <c:v>10</c:v>
                </c:pt>
                <c:pt idx="121">
                  <c:v>6.5</c:v>
                </c:pt>
                <c:pt idx="122">
                  <c:v>10</c:v>
                </c:pt>
                <c:pt idx="123">
                  <c:v>6</c:v>
                </c:pt>
                <c:pt idx="124">
                  <c:v>10.5</c:v>
                </c:pt>
                <c:pt idx="125">
                  <c:v>14.5</c:v>
                </c:pt>
                <c:pt idx="126">
                  <c:v>6</c:v>
                </c:pt>
                <c:pt idx="127">
                  <c:v>10</c:v>
                </c:pt>
                <c:pt idx="128">
                  <c:v>5.5</c:v>
                </c:pt>
                <c:pt idx="129">
                  <c:v>10</c:v>
                </c:pt>
                <c:pt idx="130">
                  <c:v>12.5</c:v>
                </c:pt>
                <c:pt idx="131">
                  <c:v>6</c:v>
                </c:pt>
                <c:pt idx="132">
                  <c:v>10</c:v>
                </c:pt>
                <c:pt idx="133">
                  <c:v>6.5</c:v>
                </c:pt>
                <c:pt idx="134">
                  <c:v>10</c:v>
                </c:pt>
                <c:pt idx="135">
                  <c:v>14.5</c:v>
                </c:pt>
                <c:pt idx="136">
                  <c:v>10</c:v>
                </c:pt>
                <c:pt idx="137">
                  <c:v>7</c:v>
                </c:pt>
                <c:pt idx="138">
                  <c:v>6.5</c:v>
                </c:pt>
                <c:pt idx="139">
                  <c:v>6</c:v>
                </c:pt>
                <c:pt idx="140">
                  <c:v>13.5</c:v>
                </c:pt>
                <c:pt idx="141">
                  <c:v>6.5</c:v>
                </c:pt>
                <c:pt idx="142">
                  <c:v>10</c:v>
                </c:pt>
                <c:pt idx="143">
                  <c:v>9</c:v>
                </c:pt>
                <c:pt idx="144">
                  <c:v>6.5</c:v>
                </c:pt>
                <c:pt idx="145">
                  <c:v>6</c:v>
                </c:pt>
                <c:pt idx="146">
                  <c:v>14.5</c:v>
                </c:pt>
                <c:pt idx="147">
                  <c:v>6</c:v>
                </c:pt>
                <c:pt idx="148">
                  <c:v>10.5</c:v>
                </c:pt>
                <c:pt idx="149">
                  <c:v>8.5</c:v>
                </c:pt>
              </c:numCache>
            </c:numRef>
          </c:xVal>
          <c:yVal>
            <c:numRef>
              <c:f>Sheet1!$B$2:$B$151</c:f>
              <c:numCache>
                <c:formatCode>General</c:formatCode>
                <c:ptCount val="150"/>
                <c:pt idx="0">
                  <c:v>0</c:v>
                </c:pt>
                <c:pt idx="1">
                  <c:v>0</c:v>
                </c:pt>
                <c:pt idx="2">
                  <c:v>0</c:v>
                </c:pt>
                <c:pt idx="3">
                  <c:v>0</c:v>
                </c:pt>
                <c:pt idx="4">
                  <c:v>0</c:v>
                </c:pt>
                <c:pt idx="5">
                  <c:v>0.1075739850080159</c:v>
                </c:pt>
                <c:pt idx="6">
                  <c:v>1.511465339210143E-2</c:v>
                </c:pt>
                <c:pt idx="7">
                  <c:v>4.2928911239096292E-2</c:v>
                </c:pt>
                <c:pt idx="8">
                  <c:v>0.12924172747363891</c:v>
                </c:pt>
                <c:pt idx="9">
                  <c:v>4.9114348672794912E-2</c:v>
                </c:pt>
                <c:pt idx="10">
                  <c:v>8.9179428686614243E-2</c:v>
                </c:pt>
                <c:pt idx="11">
                  <c:v>2.389419490227571E-2</c:v>
                </c:pt>
                <c:pt idx="12">
                  <c:v>1.8823908838789379E-2</c:v>
                </c:pt>
                <c:pt idx="13">
                  <c:v>3.4681866912813802E-2</c:v>
                </c:pt>
                <c:pt idx="14">
                  <c:v>4.4997333996871877E-2</c:v>
                </c:pt>
                <c:pt idx="15">
                  <c:v>1.5174586903428671E-2</c:v>
                </c:pt>
                <c:pt idx="16">
                  <c:v>6.8489152641307519E-2</c:v>
                </c:pt>
                <c:pt idx="17">
                  <c:v>1.1495774739492599E-2</c:v>
                </c:pt>
                <c:pt idx="18">
                  <c:v>0</c:v>
                </c:pt>
                <c:pt idx="19">
                  <c:v>2.5666582684389171E-2</c:v>
                </c:pt>
                <c:pt idx="20">
                  <c:v>0</c:v>
                </c:pt>
                <c:pt idx="21">
                  <c:v>0</c:v>
                </c:pt>
                <c:pt idx="22">
                  <c:v>3.2344375495060432E-2</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61343300703579084</c:v>
                </c:pt>
                <c:pt idx="37">
                  <c:v>0</c:v>
                </c:pt>
                <c:pt idx="38">
                  <c:v>0.27055852215326892</c:v>
                </c:pt>
                <c:pt idx="39">
                  <c:v>0.35530624225425611</c:v>
                </c:pt>
                <c:pt idx="40">
                  <c:v>0.118202886940101</c:v>
                </c:pt>
                <c:pt idx="41">
                  <c:v>9.6100644010672305</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6.3668380332690564</c:v>
                </c:pt>
                <c:pt idx="138">
                  <c:v>0</c:v>
                </c:pt>
                <c:pt idx="139">
                  <c:v>0</c:v>
                </c:pt>
                <c:pt idx="140">
                  <c:v>0</c:v>
                </c:pt>
                <c:pt idx="141">
                  <c:v>0</c:v>
                </c:pt>
                <c:pt idx="142">
                  <c:v>0</c:v>
                </c:pt>
                <c:pt idx="143">
                  <c:v>0</c:v>
                </c:pt>
                <c:pt idx="144">
                  <c:v>0</c:v>
                </c:pt>
                <c:pt idx="145">
                  <c:v>0</c:v>
                </c:pt>
                <c:pt idx="146">
                  <c:v>0</c:v>
                </c:pt>
                <c:pt idx="147">
                  <c:v>0</c:v>
                </c:pt>
                <c:pt idx="148">
                  <c:v>0</c:v>
                </c:pt>
                <c:pt idx="149">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7624472228571966</c:v>
                </c:pt>
                <c:pt idx="1">
                  <c:v>2.6360938181587117</c:v>
                </c:pt>
                <c:pt idx="2">
                  <c:v>-0.4658879683808137</c:v>
                </c:pt>
                <c:pt idx="3">
                  <c:v>-1</c:v>
                </c:pt>
                <c:pt idx="4">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05</c:v>
                </c:pt>
                <c:pt idx="19">
                  <c:v>0.25</c:v>
                </c:pt>
                <c:pt idx="20">
                  <c:v>0.05</c:v>
                </c:pt>
                <c:pt idx="21">
                  <c:v>0.25</c:v>
                </c:pt>
                <c:pt idx="22">
                  <c:v>0.3</c:v>
                </c:pt>
                <c:pt idx="23">
                  <c:v>0.05</c:v>
                </c:pt>
                <c:pt idx="24">
                  <c:v>0.3</c:v>
                </c:pt>
                <c:pt idx="25">
                  <c:v>0.60000000000000009</c:v>
                </c:pt>
                <c:pt idx="26">
                  <c:v>0.65</c:v>
                </c:pt>
                <c:pt idx="27">
                  <c:v>0.05</c:v>
                </c:pt>
                <c:pt idx="28">
                  <c:v>0.1</c:v>
                </c:pt>
                <c:pt idx="29">
                  <c:v>0.1</c:v>
                </c:pt>
                <c:pt idx="30">
                  <c:v>0.1</c:v>
                </c:pt>
                <c:pt idx="31">
                  <c:v>0.1</c:v>
                </c:pt>
                <c:pt idx="32">
                  <c:v>0.05</c:v>
                </c:pt>
                <c:pt idx="33">
                  <c:v>0.1</c:v>
                </c:pt>
                <c:pt idx="34">
                  <c:v>0.1</c:v>
                </c:pt>
                <c:pt idx="35">
                  <c:v>0.05</c:v>
                </c:pt>
                <c:pt idx="36">
                  <c:v>0.05</c:v>
                </c:pt>
                <c:pt idx="37">
                  <c:v>0.1</c:v>
                </c:pt>
                <c:pt idx="38">
                  <c:v>0.1</c:v>
                </c:pt>
                <c:pt idx="39">
                  <c:v>0.1</c:v>
                </c:pt>
                <c:pt idx="40">
                  <c:v>0.1</c:v>
                </c:pt>
                <c:pt idx="41">
                  <c:v>0</c:v>
                </c:pt>
                <c:pt idx="42">
                  <c:v>0.1</c:v>
                </c:pt>
                <c:pt idx="43">
                  <c:v>0</c:v>
                </c:pt>
                <c:pt idx="44">
                  <c:v>0.1</c:v>
                </c:pt>
                <c:pt idx="45">
                  <c:v>0</c:v>
                </c:pt>
                <c:pt idx="46">
                  <c:v>0</c:v>
                </c:pt>
                <c:pt idx="47">
                  <c:v>0.1</c:v>
                </c:pt>
                <c:pt idx="48">
                  <c:v>0</c:v>
                </c:pt>
                <c:pt idx="49">
                  <c:v>0.1</c:v>
                </c:pt>
                <c:pt idx="50">
                  <c:v>0</c:v>
                </c:pt>
                <c:pt idx="51">
                  <c:v>0.1</c:v>
                </c:pt>
                <c:pt idx="52">
                  <c:v>0</c:v>
                </c:pt>
                <c:pt idx="53">
                  <c:v>0</c:v>
                </c:pt>
                <c:pt idx="54">
                  <c:v>0</c:v>
                </c:pt>
                <c:pt idx="55">
                  <c:v>0</c:v>
                </c:pt>
                <c:pt idx="56">
                  <c:v>0.05</c:v>
                </c:pt>
                <c:pt idx="57">
                  <c:v>0</c:v>
                </c:pt>
                <c:pt idx="58">
                  <c:v>0</c:v>
                </c:pt>
                <c:pt idx="59">
                  <c:v>0</c:v>
                </c:pt>
                <c:pt idx="60">
                  <c:v>0</c:v>
                </c:pt>
                <c:pt idx="61">
                  <c:v>0</c:v>
                </c:pt>
                <c:pt idx="62">
                  <c:v>0.05</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05</c:v>
                </c:pt>
                <c:pt idx="93">
                  <c:v>0</c:v>
                </c:pt>
                <c:pt idx="94">
                  <c:v>0</c:v>
                </c:pt>
                <c:pt idx="95">
                  <c:v>0.05</c:v>
                </c:pt>
                <c:pt idx="96">
                  <c:v>0</c:v>
                </c:pt>
                <c:pt idx="97">
                  <c:v>0</c:v>
                </c:pt>
                <c:pt idx="98">
                  <c:v>0</c:v>
                </c:pt>
                <c:pt idx="99">
                  <c:v>0</c:v>
                </c:pt>
                <c:pt idx="100">
                  <c:v>0</c:v>
                </c:pt>
                <c:pt idx="101">
                  <c:v>0</c:v>
                </c:pt>
                <c:pt idx="102">
                  <c:v>0</c:v>
                </c:pt>
                <c:pt idx="103">
                  <c:v>0.05</c:v>
                </c:pt>
                <c:pt idx="104">
                  <c:v>0</c:v>
                </c:pt>
                <c:pt idx="105">
                  <c:v>0</c:v>
                </c:pt>
                <c:pt idx="106">
                  <c:v>0</c:v>
                </c:pt>
                <c:pt idx="107">
                  <c:v>0</c:v>
                </c:pt>
                <c:pt idx="108">
                  <c:v>0</c:v>
                </c:pt>
                <c:pt idx="109">
                  <c:v>0</c:v>
                </c:pt>
                <c:pt idx="110">
                  <c:v>0</c:v>
                </c:pt>
                <c:pt idx="111">
                  <c:v>0</c:v>
                </c:pt>
                <c:pt idx="112">
                  <c:v>0</c:v>
                </c:pt>
                <c:pt idx="113">
                  <c:v>0</c:v>
                </c:pt>
                <c:pt idx="114">
                  <c:v>0</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6</c:f>
              <c:numCache>
                <c:formatCode>General</c:formatCode>
                <c:ptCount val="115"/>
                <c:pt idx="0">
                  <c:v>6</c:v>
                </c:pt>
                <c:pt idx="1">
                  <c:v>5.5</c:v>
                </c:pt>
                <c:pt idx="2">
                  <c:v>6</c:v>
                </c:pt>
                <c:pt idx="3">
                  <c:v>4</c:v>
                </c:pt>
                <c:pt idx="4">
                  <c:v>6</c:v>
                </c:pt>
                <c:pt idx="5">
                  <c:v>6</c:v>
                </c:pt>
                <c:pt idx="6">
                  <c:v>5.5</c:v>
                </c:pt>
                <c:pt idx="7">
                  <c:v>6</c:v>
                </c:pt>
                <c:pt idx="8">
                  <c:v>6</c:v>
                </c:pt>
                <c:pt idx="9">
                  <c:v>6</c:v>
                </c:pt>
                <c:pt idx="10">
                  <c:v>6</c:v>
                </c:pt>
                <c:pt idx="11">
                  <c:v>6</c:v>
                </c:pt>
                <c:pt idx="12">
                  <c:v>6</c:v>
                </c:pt>
                <c:pt idx="13">
                  <c:v>6</c:v>
                </c:pt>
                <c:pt idx="14">
                  <c:v>5.5</c:v>
                </c:pt>
                <c:pt idx="15">
                  <c:v>6</c:v>
                </c:pt>
                <c:pt idx="16">
                  <c:v>6</c:v>
                </c:pt>
                <c:pt idx="17">
                  <c:v>5.5</c:v>
                </c:pt>
                <c:pt idx="18">
                  <c:v>5.5</c:v>
                </c:pt>
                <c:pt idx="19">
                  <c:v>3</c:v>
                </c:pt>
                <c:pt idx="20">
                  <c:v>5.5</c:v>
                </c:pt>
                <c:pt idx="21">
                  <c:v>3</c:v>
                </c:pt>
                <c:pt idx="22">
                  <c:v>3</c:v>
                </c:pt>
                <c:pt idx="23">
                  <c:v>5.5</c:v>
                </c:pt>
                <c:pt idx="24">
                  <c:v>3</c:v>
                </c:pt>
                <c:pt idx="25">
                  <c:v>1.5</c:v>
                </c:pt>
                <c:pt idx="26">
                  <c:v>1.5</c:v>
                </c:pt>
                <c:pt idx="27">
                  <c:v>5.5</c:v>
                </c:pt>
                <c:pt idx="28">
                  <c:v>5.5</c:v>
                </c:pt>
                <c:pt idx="29">
                  <c:v>3.5</c:v>
                </c:pt>
                <c:pt idx="30">
                  <c:v>5.5</c:v>
                </c:pt>
                <c:pt idx="31">
                  <c:v>3.5</c:v>
                </c:pt>
                <c:pt idx="32">
                  <c:v>5.5</c:v>
                </c:pt>
                <c:pt idx="33">
                  <c:v>5.5</c:v>
                </c:pt>
                <c:pt idx="34">
                  <c:v>3.5</c:v>
                </c:pt>
                <c:pt idx="35">
                  <c:v>5.5</c:v>
                </c:pt>
                <c:pt idx="36">
                  <c:v>1</c:v>
                </c:pt>
                <c:pt idx="37">
                  <c:v>1</c:v>
                </c:pt>
                <c:pt idx="38">
                  <c:v>1</c:v>
                </c:pt>
                <c:pt idx="39">
                  <c:v>1</c:v>
                </c:pt>
                <c:pt idx="40">
                  <c:v>1</c:v>
                </c:pt>
                <c:pt idx="41">
                  <c:v>5.5</c:v>
                </c:pt>
                <c:pt idx="42">
                  <c:v>1</c:v>
                </c:pt>
                <c:pt idx="43">
                  <c:v>5.5</c:v>
                </c:pt>
                <c:pt idx="44">
                  <c:v>1</c:v>
                </c:pt>
                <c:pt idx="45">
                  <c:v>4</c:v>
                </c:pt>
                <c:pt idx="46">
                  <c:v>5.5</c:v>
                </c:pt>
                <c:pt idx="47">
                  <c:v>1</c:v>
                </c:pt>
                <c:pt idx="48">
                  <c:v>5.5</c:v>
                </c:pt>
                <c:pt idx="49">
                  <c:v>1</c:v>
                </c:pt>
                <c:pt idx="50">
                  <c:v>5.5</c:v>
                </c:pt>
                <c:pt idx="51">
                  <c:v>1</c:v>
                </c:pt>
                <c:pt idx="52">
                  <c:v>5.5</c:v>
                </c:pt>
                <c:pt idx="53">
                  <c:v>5.5</c:v>
                </c:pt>
                <c:pt idx="54">
                  <c:v>4</c:v>
                </c:pt>
                <c:pt idx="55">
                  <c:v>5.5</c:v>
                </c:pt>
                <c:pt idx="56">
                  <c:v>4</c:v>
                </c:pt>
                <c:pt idx="57">
                  <c:v>5.5</c:v>
                </c:pt>
                <c:pt idx="58">
                  <c:v>2</c:v>
                </c:pt>
                <c:pt idx="59">
                  <c:v>4</c:v>
                </c:pt>
                <c:pt idx="60">
                  <c:v>5.5</c:v>
                </c:pt>
                <c:pt idx="61">
                  <c:v>2</c:v>
                </c:pt>
                <c:pt idx="62">
                  <c:v>6</c:v>
                </c:pt>
                <c:pt idx="63">
                  <c:v>5.5</c:v>
                </c:pt>
                <c:pt idx="64">
                  <c:v>2</c:v>
                </c:pt>
                <c:pt idx="65">
                  <c:v>5.5</c:v>
                </c:pt>
                <c:pt idx="66">
                  <c:v>5.5</c:v>
                </c:pt>
                <c:pt idx="67">
                  <c:v>5.5</c:v>
                </c:pt>
                <c:pt idx="68">
                  <c:v>2</c:v>
                </c:pt>
                <c:pt idx="69">
                  <c:v>5.5</c:v>
                </c:pt>
                <c:pt idx="70">
                  <c:v>5.5</c:v>
                </c:pt>
                <c:pt idx="71">
                  <c:v>5.5</c:v>
                </c:pt>
                <c:pt idx="72">
                  <c:v>5.5</c:v>
                </c:pt>
                <c:pt idx="73">
                  <c:v>6</c:v>
                </c:pt>
                <c:pt idx="74">
                  <c:v>5.5</c:v>
                </c:pt>
                <c:pt idx="75">
                  <c:v>6</c:v>
                </c:pt>
                <c:pt idx="76">
                  <c:v>5.5</c:v>
                </c:pt>
                <c:pt idx="77">
                  <c:v>5.5</c:v>
                </c:pt>
                <c:pt idx="78">
                  <c:v>5.5</c:v>
                </c:pt>
                <c:pt idx="79">
                  <c:v>2</c:v>
                </c:pt>
                <c:pt idx="80">
                  <c:v>6</c:v>
                </c:pt>
                <c:pt idx="81">
                  <c:v>5.5</c:v>
                </c:pt>
                <c:pt idx="82">
                  <c:v>6</c:v>
                </c:pt>
                <c:pt idx="83">
                  <c:v>5.5</c:v>
                </c:pt>
                <c:pt idx="84">
                  <c:v>5.5</c:v>
                </c:pt>
                <c:pt idx="85">
                  <c:v>6</c:v>
                </c:pt>
                <c:pt idx="86">
                  <c:v>5.5</c:v>
                </c:pt>
                <c:pt idx="87">
                  <c:v>6</c:v>
                </c:pt>
                <c:pt idx="88">
                  <c:v>5.5</c:v>
                </c:pt>
                <c:pt idx="89">
                  <c:v>2</c:v>
                </c:pt>
                <c:pt idx="90">
                  <c:v>5.5</c:v>
                </c:pt>
                <c:pt idx="91">
                  <c:v>2</c:v>
                </c:pt>
                <c:pt idx="92">
                  <c:v>5</c:v>
                </c:pt>
                <c:pt idx="93">
                  <c:v>2</c:v>
                </c:pt>
                <c:pt idx="94">
                  <c:v>2</c:v>
                </c:pt>
                <c:pt idx="95">
                  <c:v>5.5</c:v>
                </c:pt>
                <c:pt idx="96">
                  <c:v>2</c:v>
                </c:pt>
                <c:pt idx="97">
                  <c:v>5.5</c:v>
                </c:pt>
                <c:pt idx="98">
                  <c:v>2</c:v>
                </c:pt>
                <c:pt idx="99">
                  <c:v>5.5</c:v>
                </c:pt>
                <c:pt idx="100">
                  <c:v>2</c:v>
                </c:pt>
                <c:pt idx="101">
                  <c:v>2</c:v>
                </c:pt>
                <c:pt idx="102">
                  <c:v>5.5</c:v>
                </c:pt>
                <c:pt idx="103">
                  <c:v>5.5</c:v>
                </c:pt>
                <c:pt idx="104">
                  <c:v>5.5</c:v>
                </c:pt>
                <c:pt idx="105">
                  <c:v>5.5</c:v>
                </c:pt>
                <c:pt idx="106">
                  <c:v>5.5</c:v>
                </c:pt>
                <c:pt idx="107">
                  <c:v>5.5</c:v>
                </c:pt>
                <c:pt idx="108">
                  <c:v>5.5</c:v>
                </c:pt>
                <c:pt idx="109">
                  <c:v>5.5</c:v>
                </c:pt>
                <c:pt idx="110">
                  <c:v>5.5</c:v>
                </c:pt>
                <c:pt idx="111">
                  <c:v>5.5</c:v>
                </c:pt>
                <c:pt idx="112">
                  <c:v>5.5</c:v>
                </c:pt>
                <c:pt idx="113">
                  <c:v>5.5</c:v>
                </c:pt>
                <c:pt idx="114">
                  <c:v>5.5</c:v>
                </c:pt>
              </c:numCache>
            </c:numRef>
          </c:xVal>
          <c:yVal>
            <c:numRef>
              <c:f>Sheet1!$B$2:$B$116</c:f>
              <c:numCache>
                <c:formatCode>General</c:formatCode>
                <c:ptCount val="1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4.0487285410525882E-2</c:v>
                </c:pt>
                <c:pt idx="28">
                  <c:v>0</c:v>
                </c:pt>
                <c:pt idx="29">
                  <c:v>0</c:v>
                </c:pt>
                <c:pt idx="30">
                  <c:v>0</c:v>
                </c:pt>
                <c:pt idx="31">
                  <c:v>0</c:v>
                </c:pt>
                <c:pt idx="32">
                  <c:v>0</c:v>
                </c:pt>
                <c:pt idx="33">
                  <c:v>0</c:v>
                </c:pt>
                <c:pt idx="34">
                  <c:v>0</c:v>
                </c:pt>
                <c:pt idx="35">
                  <c:v>0</c:v>
                </c:pt>
                <c:pt idx="36">
                  <c:v>2.6039775730140859E-2</c:v>
                </c:pt>
                <c:pt idx="37">
                  <c:v>0.13263436918561239</c:v>
                </c:pt>
                <c:pt idx="38">
                  <c:v>0.13587093257650229</c:v>
                </c:pt>
                <c:pt idx="39">
                  <c:v>0.1014771618985696</c:v>
                </c:pt>
                <c:pt idx="40">
                  <c:v>0.22680211279878809</c:v>
                </c:pt>
                <c:pt idx="41">
                  <c:v>0</c:v>
                </c:pt>
                <c:pt idx="42">
                  <c:v>0.18786299617503269</c:v>
                </c:pt>
                <c:pt idx="43">
                  <c:v>0</c:v>
                </c:pt>
                <c:pt idx="44">
                  <c:v>0.13604560749668199</c:v>
                </c:pt>
                <c:pt idx="45">
                  <c:v>0</c:v>
                </c:pt>
                <c:pt idx="46">
                  <c:v>0</c:v>
                </c:pt>
                <c:pt idx="47">
                  <c:v>0.20910067712132019</c:v>
                </c:pt>
                <c:pt idx="48">
                  <c:v>0</c:v>
                </c:pt>
                <c:pt idx="49">
                  <c:v>0.16867160794838021</c:v>
                </c:pt>
                <c:pt idx="50">
                  <c:v>0</c:v>
                </c:pt>
                <c:pt idx="51">
                  <c:v>9.6960278752240732E-3</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7.1999999999999993"/>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0</c:v>
                </c:pt>
                <c:pt idx="1">
                  <c:v>0.4</c:v>
                </c:pt>
                <c:pt idx="2">
                  <c:v>0</c:v>
                </c:pt>
                <c:pt idx="3">
                  <c:v>0.4</c:v>
                </c:pt>
                <c:pt idx="4">
                  <c:v>0.15</c:v>
                </c:pt>
                <c:pt idx="5">
                  <c:v>0.2</c:v>
                </c:pt>
                <c:pt idx="6">
                  <c:v>0.05</c:v>
                </c:pt>
                <c:pt idx="7">
                  <c:v>0.2</c:v>
                </c:pt>
                <c:pt idx="8">
                  <c:v>0.4</c:v>
                </c:pt>
                <c:pt idx="9">
                  <c:v>0.4</c:v>
                </c:pt>
                <c:pt idx="10">
                  <c:v>0.45</c:v>
                </c:pt>
                <c:pt idx="11">
                  <c:v>0.60000000000000009</c:v>
                </c:pt>
                <c:pt idx="12">
                  <c:v>0.70000000000000007</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4</c:f>
              <c:numCache>
                <c:formatCode>General</c:formatCode>
                <c:ptCount val="13"/>
                <c:pt idx="0">
                  <c:v>25</c:v>
                </c:pt>
                <c:pt idx="1">
                  <c:v>15.5</c:v>
                </c:pt>
                <c:pt idx="2">
                  <c:v>25</c:v>
                </c:pt>
                <c:pt idx="3">
                  <c:v>15.5</c:v>
                </c:pt>
                <c:pt idx="4">
                  <c:v>21.5</c:v>
                </c:pt>
                <c:pt idx="5">
                  <c:v>20</c:v>
                </c:pt>
                <c:pt idx="6">
                  <c:v>23.5</c:v>
                </c:pt>
                <c:pt idx="7">
                  <c:v>20</c:v>
                </c:pt>
                <c:pt idx="8">
                  <c:v>15</c:v>
                </c:pt>
                <c:pt idx="9">
                  <c:v>15</c:v>
                </c:pt>
                <c:pt idx="10">
                  <c:v>13.5</c:v>
                </c:pt>
                <c:pt idx="11">
                  <c:v>9.5</c:v>
                </c:pt>
                <c:pt idx="12">
                  <c:v>7.5</c:v>
                </c:pt>
              </c:numCache>
            </c:numRef>
          </c:xVal>
          <c:yVal>
            <c:numRef>
              <c:f>Sheet1!$B$2:$B$14</c:f>
              <c:numCache>
                <c:formatCode>General</c:formatCode>
                <c:ptCount val="13"/>
                <c:pt idx="0">
                  <c:v>0</c:v>
                </c:pt>
                <c:pt idx="1">
                  <c:v>0</c:v>
                </c:pt>
                <c:pt idx="2">
                  <c:v>0</c:v>
                </c:pt>
                <c:pt idx="3">
                  <c:v>0</c:v>
                </c:pt>
                <c:pt idx="4">
                  <c:v>0.1243009157629663</c:v>
                </c:pt>
                <c:pt idx="5">
                  <c:v>0</c:v>
                </c:pt>
                <c:pt idx="6">
                  <c:v>0</c:v>
                </c:pt>
                <c:pt idx="7">
                  <c:v>1.3902667037517771</c:v>
                </c:pt>
                <c:pt idx="8">
                  <c:v>4.7191370911621444</c:v>
                </c:pt>
                <c:pt idx="9">
                  <c:v>2.0588262584087218</c:v>
                </c:pt>
                <c:pt idx="10">
                  <c:v>0.54618418000463931</c:v>
                </c:pt>
                <c:pt idx="11">
                  <c:v>2.3417750929368029</c:v>
                </c:pt>
                <c:pt idx="12">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0</c:f>
              <c:numCache>
                <c:formatCode>General</c:formatCode>
                <c:ptCount val="69"/>
                <c:pt idx="0">
                  <c:v>0.05</c:v>
                </c:pt>
                <c:pt idx="1">
                  <c:v>0.05</c:v>
                </c:pt>
                <c:pt idx="2">
                  <c:v>0.05</c:v>
                </c:pt>
                <c:pt idx="3">
                  <c:v>0</c:v>
                </c:pt>
                <c:pt idx="4">
                  <c:v>0.15</c:v>
                </c:pt>
                <c:pt idx="5">
                  <c:v>0</c:v>
                </c:pt>
                <c:pt idx="6">
                  <c:v>0</c:v>
                </c:pt>
                <c:pt idx="7">
                  <c:v>0.05</c:v>
                </c:pt>
                <c:pt idx="8">
                  <c:v>0</c:v>
                </c:pt>
                <c:pt idx="9">
                  <c:v>0.1</c:v>
                </c:pt>
                <c:pt idx="10">
                  <c:v>0</c:v>
                </c:pt>
                <c:pt idx="11">
                  <c:v>0.05</c:v>
                </c:pt>
                <c:pt idx="12">
                  <c:v>0</c:v>
                </c:pt>
                <c:pt idx="13">
                  <c:v>0.1</c:v>
                </c:pt>
                <c:pt idx="14">
                  <c:v>0</c:v>
                </c:pt>
                <c:pt idx="15">
                  <c:v>0.05</c:v>
                </c:pt>
                <c:pt idx="16">
                  <c:v>0</c:v>
                </c:pt>
                <c:pt idx="17">
                  <c:v>0</c:v>
                </c:pt>
                <c:pt idx="18">
                  <c:v>0</c:v>
                </c:pt>
                <c:pt idx="19">
                  <c:v>0</c:v>
                </c:pt>
                <c:pt idx="20">
                  <c:v>0.15</c:v>
                </c:pt>
                <c:pt idx="21">
                  <c:v>0</c:v>
                </c:pt>
                <c:pt idx="22">
                  <c:v>0</c:v>
                </c:pt>
                <c:pt idx="23">
                  <c:v>0.60000000000000009</c:v>
                </c:pt>
                <c:pt idx="24">
                  <c:v>0</c:v>
                </c:pt>
                <c:pt idx="25">
                  <c:v>0.60000000000000009</c:v>
                </c:pt>
                <c:pt idx="26">
                  <c:v>0.4</c:v>
                </c:pt>
                <c:pt idx="27">
                  <c:v>0.35</c:v>
                </c:pt>
                <c:pt idx="28">
                  <c:v>0.15</c:v>
                </c:pt>
                <c:pt idx="29">
                  <c:v>0.15</c:v>
                </c:pt>
                <c:pt idx="30">
                  <c:v>0.15</c:v>
                </c:pt>
                <c:pt idx="31">
                  <c:v>0.15</c:v>
                </c:pt>
                <c:pt idx="32">
                  <c:v>0.05</c:v>
                </c:pt>
                <c:pt idx="33">
                  <c:v>0.15</c:v>
                </c:pt>
                <c:pt idx="34">
                  <c:v>0.05</c:v>
                </c:pt>
                <c:pt idx="35">
                  <c:v>0.2</c:v>
                </c:pt>
                <c:pt idx="36">
                  <c:v>0.1</c:v>
                </c:pt>
                <c:pt idx="37">
                  <c:v>0.1</c:v>
                </c:pt>
                <c:pt idx="38">
                  <c:v>0.1</c:v>
                </c:pt>
                <c:pt idx="39">
                  <c:v>0.1</c:v>
                </c:pt>
                <c:pt idx="40">
                  <c:v>0.1</c:v>
                </c:pt>
                <c:pt idx="41">
                  <c:v>0.1</c:v>
                </c:pt>
                <c:pt idx="42">
                  <c:v>0.15</c:v>
                </c:pt>
                <c:pt idx="43">
                  <c:v>0.1</c:v>
                </c:pt>
                <c:pt idx="44">
                  <c:v>0.2</c:v>
                </c:pt>
                <c:pt idx="45">
                  <c:v>0.1</c:v>
                </c:pt>
                <c:pt idx="46">
                  <c:v>0.1</c:v>
                </c:pt>
                <c:pt idx="47">
                  <c:v>0.1</c:v>
                </c:pt>
                <c:pt idx="48">
                  <c:v>0.15</c:v>
                </c:pt>
                <c:pt idx="49">
                  <c:v>0.15</c:v>
                </c:pt>
                <c:pt idx="50">
                  <c:v>0.1</c:v>
                </c:pt>
                <c:pt idx="51">
                  <c:v>0.15</c:v>
                </c:pt>
                <c:pt idx="52">
                  <c:v>0.15</c:v>
                </c:pt>
                <c:pt idx="53">
                  <c:v>0</c:v>
                </c:pt>
                <c:pt idx="54">
                  <c:v>0.15</c:v>
                </c:pt>
                <c:pt idx="55">
                  <c:v>0</c:v>
                </c:pt>
                <c:pt idx="56">
                  <c:v>0.15</c:v>
                </c:pt>
                <c:pt idx="57">
                  <c:v>0</c:v>
                </c:pt>
                <c:pt idx="58">
                  <c:v>0</c:v>
                </c:pt>
                <c:pt idx="59">
                  <c:v>0</c:v>
                </c:pt>
                <c:pt idx="60">
                  <c:v>0</c:v>
                </c:pt>
                <c:pt idx="61">
                  <c:v>0</c:v>
                </c:pt>
                <c:pt idx="62">
                  <c:v>0</c:v>
                </c:pt>
                <c:pt idx="63">
                  <c:v>0</c:v>
                </c:pt>
                <c:pt idx="64">
                  <c:v>0</c:v>
                </c:pt>
                <c:pt idx="65">
                  <c:v>0</c:v>
                </c:pt>
                <c:pt idx="66">
                  <c:v>0.3</c:v>
                </c:pt>
                <c:pt idx="67">
                  <c:v>0.05</c:v>
                </c:pt>
                <c:pt idx="68">
                  <c:v>0.05</c:v>
                </c:pt>
              </c:numCache>
            </c:numRef>
          </c:xVal>
          <c:yVal>
            <c:numRef>
              <c:f>Sheet1!$B$2:$B$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58664971314511916</c:v>
                </c:pt>
                <c:pt idx="24">
                  <c:v>0</c:v>
                </c:pt>
                <c:pt idx="25">
                  <c:v>0.53240658421394194</c:v>
                </c:pt>
                <c:pt idx="26">
                  <c:v>6.673581308122871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7.0868639048581716</c:v>
                </c:pt>
                <c:pt idx="67">
                  <c:v>0</c:v>
                </c:pt>
                <c:pt idx="68">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2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70</c:f>
              <c:numCache>
                <c:formatCode>General</c:formatCode>
                <c:ptCount val="69"/>
                <c:pt idx="0">
                  <c:v>9.5</c:v>
                </c:pt>
                <c:pt idx="1">
                  <c:v>9.5</c:v>
                </c:pt>
                <c:pt idx="2">
                  <c:v>9.5</c:v>
                </c:pt>
                <c:pt idx="3">
                  <c:v>10</c:v>
                </c:pt>
                <c:pt idx="4">
                  <c:v>8.5</c:v>
                </c:pt>
                <c:pt idx="5">
                  <c:v>10</c:v>
                </c:pt>
                <c:pt idx="6">
                  <c:v>10</c:v>
                </c:pt>
                <c:pt idx="7">
                  <c:v>9.5</c:v>
                </c:pt>
                <c:pt idx="8">
                  <c:v>10</c:v>
                </c:pt>
                <c:pt idx="9">
                  <c:v>9</c:v>
                </c:pt>
                <c:pt idx="10">
                  <c:v>10</c:v>
                </c:pt>
                <c:pt idx="11">
                  <c:v>9.5</c:v>
                </c:pt>
                <c:pt idx="12">
                  <c:v>10</c:v>
                </c:pt>
                <c:pt idx="13">
                  <c:v>9</c:v>
                </c:pt>
                <c:pt idx="14">
                  <c:v>10</c:v>
                </c:pt>
                <c:pt idx="15">
                  <c:v>9.5</c:v>
                </c:pt>
                <c:pt idx="16">
                  <c:v>10</c:v>
                </c:pt>
                <c:pt idx="17">
                  <c:v>10</c:v>
                </c:pt>
                <c:pt idx="18">
                  <c:v>10</c:v>
                </c:pt>
                <c:pt idx="19">
                  <c:v>10</c:v>
                </c:pt>
                <c:pt idx="20">
                  <c:v>8.5</c:v>
                </c:pt>
                <c:pt idx="21">
                  <c:v>10</c:v>
                </c:pt>
                <c:pt idx="22">
                  <c:v>10</c:v>
                </c:pt>
                <c:pt idx="23">
                  <c:v>4</c:v>
                </c:pt>
                <c:pt idx="24">
                  <c:v>10</c:v>
                </c:pt>
                <c:pt idx="25">
                  <c:v>4</c:v>
                </c:pt>
                <c:pt idx="26">
                  <c:v>6</c:v>
                </c:pt>
                <c:pt idx="27">
                  <c:v>6.5</c:v>
                </c:pt>
                <c:pt idx="28">
                  <c:v>8.5</c:v>
                </c:pt>
                <c:pt idx="29">
                  <c:v>8.5</c:v>
                </c:pt>
                <c:pt idx="30">
                  <c:v>8.5</c:v>
                </c:pt>
                <c:pt idx="31">
                  <c:v>8.5</c:v>
                </c:pt>
                <c:pt idx="32">
                  <c:v>9.5</c:v>
                </c:pt>
                <c:pt idx="33">
                  <c:v>8.5</c:v>
                </c:pt>
                <c:pt idx="34">
                  <c:v>9</c:v>
                </c:pt>
                <c:pt idx="35">
                  <c:v>8</c:v>
                </c:pt>
                <c:pt idx="36">
                  <c:v>8.5</c:v>
                </c:pt>
                <c:pt idx="37">
                  <c:v>9</c:v>
                </c:pt>
                <c:pt idx="38">
                  <c:v>9</c:v>
                </c:pt>
                <c:pt idx="39">
                  <c:v>9</c:v>
                </c:pt>
                <c:pt idx="40">
                  <c:v>9</c:v>
                </c:pt>
                <c:pt idx="41">
                  <c:v>9</c:v>
                </c:pt>
                <c:pt idx="42">
                  <c:v>8.5</c:v>
                </c:pt>
                <c:pt idx="43">
                  <c:v>9</c:v>
                </c:pt>
                <c:pt idx="44">
                  <c:v>8</c:v>
                </c:pt>
                <c:pt idx="45">
                  <c:v>9</c:v>
                </c:pt>
                <c:pt idx="46">
                  <c:v>9</c:v>
                </c:pt>
                <c:pt idx="47">
                  <c:v>9</c:v>
                </c:pt>
                <c:pt idx="48">
                  <c:v>8.5</c:v>
                </c:pt>
                <c:pt idx="49">
                  <c:v>8.5</c:v>
                </c:pt>
                <c:pt idx="50">
                  <c:v>9</c:v>
                </c:pt>
                <c:pt idx="51">
                  <c:v>8.5</c:v>
                </c:pt>
                <c:pt idx="52">
                  <c:v>8.5</c:v>
                </c:pt>
                <c:pt idx="53">
                  <c:v>10</c:v>
                </c:pt>
                <c:pt idx="54">
                  <c:v>8.5</c:v>
                </c:pt>
                <c:pt idx="55">
                  <c:v>10</c:v>
                </c:pt>
                <c:pt idx="56">
                  <c:v>8.5</c:v>
                </c:pt>
                <c:pt idx="57">
                  <c:v>10</c:v>
                </c:pt>
                <c:pt idx="58">
                  <c:v>10</c:v>
                </c:pt>
                <c:pt idx="59">
                  <c:v>10</c:v>
                </c:pt>
                <c:pt idx="60">
                  <c:v>10</c:v>
                </c:pt>
                <c:pt idx="61">
                  <c:v>10</c:v>
                </c:pt>
                <c:pt idx="62">
                  <c:v>10</c:v>
                </c:pt>
                <c:pt idx="63">
                  <c:v>10</c:v>
                </c:pt>
                <c:pt idx="64">
                  <c:v>10</c:v>
                </c:pt>
                <c:pt idx="65">
                  <c:v>10</c:v>
                </c:pt>
                <c:pt idx="66">
                  <c:v>7</c:v>
                </c:pt>
                <c:pt idx="67">
                  <c:v>9.5</c:v>
                </c:pt>
                <c:pt idx="68">
                  <c:v>9.5</c:v>
                </c:pt>
              </c:numCache>
            </c:numRef>
          </c:xVal>
          <c:yVal>
            <c:numRef>
              <c:f>Sheet1!$B$2:$B$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58664971314511916</c:v>
                </c:pt>
                <c:pt idx="24">
                  <c:v>0</c:v>
                </c:pt>
                <c:pt idx="25">
                  <c:v>0.53240658421394194</c:v>
                </c:pt>
                <c:pt idx="26">
                  <c:v>6.673581308122871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7.0868639048581716</c:v>
                </c:pt>
                <c:pt idx="67">
                  <c:v>0</c:v>
                </c:pt>
                <c:pt idx="68">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7</c:f>
              <c:numCache>
                <c:formatCode>General</c:formatCode>
                <c:ptCount val="16"/>
                <c:pt idx="0">
                  <c:v>0.1</c:v>
                </c:pt>
                <c:pt idx="1">
                  <c:v>0.1</c:v>
                </c:pt>
                <c:pt idx="2">
                  <c:v>0.15</c:v>
                </c:pt>
                <c:pt idx="3">
                  <c:v>0.1</c:v>
                </c:pt>
                <c:pt idx="4">
                  <c:v>0.15</c:v>
                </c:pt>
                <c:pt idx="5">
                  <c:v>0.1</c:v>
                </c:pt>
                <c:pt idx="6">
                  <c:v>0.1</c:v>
                </c:pt>
                <c:pt idx="7">
                  <c:v>0.1</c:v>
                </c:pt>
                <c:pt idx="8">
                  <c:v>0.1</c:v>
                </c:pt>
                <c:pt idx="9">
                  <c:v>0.1</c:v>
                </c:pt>
                <c:pt idx="10">
                  <c:v>0.1</c:v>
                </c:pt>
                <c:pt idx="11">
                  <c:v>0.1</c:v>
                </c:pt>
                <c:pt idx="12">
                  <c:v>0.1</c:v>
                </c:pt>
                <c:pt idx="13">
                  <c:v>0.05</c:v>
                </c:pt>
                <c:pt idx="14">
                  <c:v>0.15</c:v>
                </c:pt>
                <c:pt idx="15">
                  <c:v>0.05</c:v>
                </c:pt>
              </c:numCache>
            </c:numRef>
          </c:xVal>
          <c:yVal>
            <c:numRef>
              <c:f>Sheet1!$B$2:$B$17</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18000000000000002"/>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7</c:f>
              <c:numCache>
                <c:formatCode>General</c:formatCode>
                <c:ptCount val="16"/>
                <c:pt idx="0">
                  <c:v>7.5</c:v>
                </c:pt>
                <c:pt idx="1">
                  <c:v>7.5</c:v>
                </c:pt>
                <c:pt idx="2">
                  <c:v>7.5</c:v>
                </c:pt>
                <c:pt idx="3">
                  <c:v>7.5</c:v>
                </c:pt>
                <c:pt idx="4">
                  <c:v>7.5</c:v>
                </c:pt>
                <c:pt idx="5">
                  <c:v>7.5</c:v>
                </c:pt>
                <c:pt idx="6">
                  <c:v>7.5</c:v>
                </c:pt>
                <c:pt idx="7">
                  <c:v>7.5</c:v>
                </c:pt>
                <c:pt idx="8">
                  <c:v>7.5</c:v>
                </c:pt>
                <c:pt idx="9">
                  <c:v>7.5</c:v>
                </c:pt>
                <c:pt idx="10">
                  <c:v>7.5</c:v>
                </c:pt>
                <c:pt idx="11">
                  <c:v>7.5</c:v>
                </c:pt>
                <c:pt idx="12">
                  <c:v>7.5</c:v>
                </c:pt>
                <c:pt idx="13">
                  <c:v>8</c:v>
                </c:pt>
                <c:pt idx="14">
                  <c:v>7.5</c:v>
                </c:pt>
                <c:pt idx="15">
                  <c:v>8</c:v>
                </c:pt>
              </c:numCache>
            </c:numRef>
          </c:xVal>
          <c:yVal>
            <c:numRef>
              <c:f>Sheet1!$B$2:$B$17</c:f>
              <c:numCache>
                <c:formatCode>General</c:formatCode>
                <c:ptCount val="1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9.6"/>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15</c:v>
                </c:pt>
                <c:pt idx="20">
                  <c:v>0</c:v>
                </c:pt>
                <c:pt idx="21">
                  <c:v>0</c:v>
                </c:pt>
                <c:pt idx="22">
                  <c:v>0.2</c:v>
                </c:pt>
                <c:pt idx="23">
                  <c:v>0</c:v>
                </c:pt>
                <c:pt idx="24">
                  <c:v>0.65</c:v>
                </c:pt>
                <c:pt idx="25">
                  <c:v>0.70000000000000007</c:v>
                </c:pt>
              </c:numCache>
            </c:numRef>
          </c:xVal>
          <c:yVal>
            <c:numRef>
              <c:f>Sheet1!$B$2:$B$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7530926961531942E-2</c:v>
                </c:pt>
                <c:pt idx="20">
                  <c:v>0</c:v>
                </c:pt>
                <c:pt idx="21">
                  <c:v>0</c:v>
                </c:pt>
                <c:pt idx="22">
                  <c:v>1.42812303829253E-2</c:v>
                </c:pt>
                <c:pt idx="23">
                  <c:v>0</c:v>
                </c:pt>
                <c:pt idx="24">
                  <c:v>5.9169822980092587E-2</c:v>
                </c:pt>
                <c:pt idx="25">
                  <c:v>1.664441313454075</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4</c:v>
                </c:pt>
                <c:pt idx="23">
                  <c:v>15</c:v>
                </c:pt>
                <c:pt idx="24">
                  <c:v>5</c:v>
                </c:pt>
                <c:pt idx="25">
                  <c:v>4.5</c:v>
                </c:pt>
              </c:numCache>
            </c:numRef>
          </c:xVal>
          <c:yVal>
            <c:numRef>
              <c:f>Sheet1!$B$2:$B$27</c:f>
              <c:numCache>
                <c:formatCode>General</c:formatCode>
                <c:ptCount val="2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6.7530926961531942E-2</c:v>
                </c:pt>
                <c:pt idx="20">
                  <c:v>0</c:v>
                </c:pt>
                <c:pt idx="21">
                  <c:v>0</c:v>
                </c:pt>
                <c:pt idx="22">
                  <c:v>1.42812303829253E-2</c:v>
                </c:pt>
                <c:pt idx="23">
                  <c:v>0</c:v>
                </c:pt>
                <c:pt idx="24">
                  <c:v>5.9169822980092587E-2</c:v>
                </c:pt>
                <c:pt idx="25">
                  <c:v>1.664441313454075</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1</c:v>
                </c:pt>
                <c:pt idx="1">
                  <c:v>1.0710000000000002</c:v>
                </c:pt>
                <c:pt idx="2">
                  <c:v>0.44399999999999995</c:v>
                </c:pt>
                <c:pt idx="3">
                  <c:v>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3</c:f>
              <c:numCache>
                <c:formatCode>General</c:formatCode>
                <c:ptCount val="92"/>
                <c:pt idx="0">
                  <c:v>0</c:v>
                </c:pt>
                <c:pt idx="1">
                  <c:v>0.55000000000000004</c:v>
                </c:pt>
                <c:pt idx="2">
                  <c:v>0.05</c:v>
                </c:pt>
                <c:pt idx="3">
                  <c:v>0.05</c:v>
                </c:pt>
                <c:pt idx="4">
                  <c:v>0.05</c:v>
                </c:pt>
                <c:pt idx="5">
                  <c:v>0.25</c:v>
                </c:pt>
                <c:pt idx="6">
                  <c:v>0.1</c:v>
                </c:pt>
                <c:pt idx="7">
                  <c:v>0</c:v>
                </c:pt>
                <c:pt idx="8">
                  <c:v>0.05</c:v>
                </c:pt>
                <c:pt idx="9">
                  <c:v>0.05</c:v>
                </c:pt>
                <c:pt idx="10">
                  <c:v>0.05</c:v>
                </c:pt>
                <c:pt idx="11">
                  <c:v>0.1</c:v>
                </c:pt>
                <c:pt idx="12">
                  <c:v>0.05</c:v>
                </c:pt>
                <c:pt idx="13">
                  <c:v>0.4</c:v>
                </c:pt>
                <c:pt idx="14">
                  <c:v>0.1</c:v>
                </c:pt>
                <c:pt idx="15">
                  <c:v>0.2</c:v>
                </c:pt>
                <c:pt idx="16">
                  <c:v>0.05</c:v>
                </c:pt>
                <c:pt idx="17">
                  <c:v>0.3</c:v>
                </c:pt>
                <c:pt idx="18">
                  <c:v>0.05</c:v>
                </c:pt>
                <c:pt idx="19">
                  <c:v>0.1</c:v>
                </c:pt>
                <c:pt idx="20">
                  <c:v>0.15</c:v>
                </c:pt>
                <c:pt idx="21">
                  <c:v>0.3</c:v>
                </c:pt>
                <c:pt idx="22">
                  <c:v>0.05</c:v>
                </c:pt>
                <c:pt idx="23">
                  <c:v>0.2</c:v>
                </c:pt>
                <c:pt idx="24">
                  <c:v>0.1</c:v>
                </c:pt>
                <c:pt idx="25">
                  <c:v>0.5</c:v>
                </c:pt>
                <c:pt idx="26">
                  <c:v>0.65</c:v>
                </c:pt>
                <c:pt idx="27">
                  <c:v>0.55000000000000004</c:v>
                </c:pt>
                <c:pt idx="28">
                  <c:v>0.65</c:v>
                </c:pt>
                <c:pt idx="29">
                  <c:v>0.1</c:v>
                </c:pt>
                <c:pt idx="30">
                  <c:v>0</c:v>
                </c:pt>
                <c:pt idx="31">
                  <c:v>0</c:v>
                </c:pt>
                <c:pt idx="32">
                  <c:v>0.1</c:v>
                </c:pt>
                <c:pt idx="33">
                  <c:v>0</c:v>
                </c:pt>
                <c:pt idx="34">
                  <c:v>0.1</c:v>
                </c:pt>
                <c:pt idx="35">
                  <c:v>0</c:v>
                </c:pt>
                <c:pt idx="36">
                  <c:v>0.1</c:v>
                </c:pt>
                <c:pt idx="37">
                  <c:v>0</c:v>
                </c:pt>
                <c:pt idx="38">
                  <c:v>0</c:v>
                </c:pt>
                <c:pt idx="39">
                  <c:v>0</c:v>
                </c:pt>
                <c:pt idx="40">
                  <c:v>0</c:v>
                </c:pt>
                <c:pt idx="41">
                  <c:v>0</c:v>
                </c:pt>
                <c:pt idx="42">
                  <c:v>0</c:v>
                </c:pt>
                <c:pt idx="43">
                  <c:v>0.05</c:v>
                </c:pt>
                <c:pt idx="44">
                  <c:v>0</c:v>
                </c:pt>
                <c:pt idx="45">
                  <c:v>0</c:v>
                </c:pt>
                <c:pt idx="46">
                  <c:v>0</c:v>
                </c:pt>
                <c:pt idx="47">
                  <c:v>0.05</c:v>
                </c:pt>
                <c:pt idx="48">
                  <c:v>0</c:v>
                </c:pt>
                <c:pt idx="49">
                  <c:v>0.05</c:v>
                </c:pt>
                <c:pt idx="50">
                  <c:v>0</c:v>
                </c:pt>
                <c:pt idx="51">
                  <c:v>0.2</c:v>
                </c:pt>
                <c:pt idx="52">
                  <c:v>0</c:v>
                </c:pt>
                <c:pt idx="53">
                  <c:v>0.15</c:v>
                </c:pt>
                <c:pt idx="54">
                  <c:v>0</c:v>
                </c:pt>
                <c:pt idx="55">
                  <c:v>0.3</c:v>
                </c:pt>
                <c:pt idx="56">
                  <c:v>0</c:v>
                </c:pt>
                <c:pt idx="57">
                  <c:v>0.2</c:v>
                </c:pt>
                <c:pt idx="58">
                  <c:v>0</c:v>
                </c:pt>
                <c:pt idx="59">
                  <c:v>0.25</c:v>
                </c:pt>
                <c:pt idx="60">
                  <c:v>0</c:v>
                </c:pt>
                <c:pt idx="61">
                  <c:v>0.15</c:v>
                </c:pt>
                <c:pt idx="62">
                  <c:v>0</c:v>
                </c:pt>
                <c:pt idx="63">
                  <c:v>0.15</c:v>
                </c:pt>
                <c:pt idx="64">
                  <c:v>0</c:v>
                </c:pt>
                <c:pt idx="65">
                  <c:v>0.1</c:v>
                </c:pt>
                <c:pt idx="66">
                  <c:v>0</c:v>
                </c:pt>
                <c:pt idx="67">
                  <c:v>0.1</c:v>
                </c:pt>
                <c:pt idx="68">
                  <c:v>0</c:v>
                </c:pt>
                <c:pt idx="69">
                  <c:v>0.1</c:v>
                </c:pt>
                <c:pt idx="70">
                  <c:v>0</c:v>
                </c:pt>
                <c:pt idx="71">
                  <c:v>0.1</c:v>
                </c:pt>
                <c:pt idx="72">
                  <c:v>0</c:v>
                </c:pt>
                <c:pt idx="73">
                  <c:v>0.3</c:v>
                </c:pt>
                <c:pt idx="74">
                  <c:v>0</c:v>
                </c:pt>
                <c:pt idx="75">
                  <c:v>0.1</c:v>
                </c:pt>
                <c:pt idx="76">
                  <c:v>0</c:v>
                </c:pt>
                <c:pt idx="77">
                  <c:v>0.1</c:v>
                </c:pt>
                <c:pt idx="78">
                  <c:v>0.05</c:v>
                </c:pt>
                <c:pt idx="79">
                  <c:v>0.1</c:v>
                </c:pt>
                <c:pt idx="80">
                  <c:v>0.1</c:v>
                </c:pt>
                <c:pt idx="81">
                  <c:v>0.1</c:v>
                </c:pt>
                <c:pt idx="82">
                  <c:v>0.35</c:v>
                </c:pt>
                <c:pt idx="83">
                  <c:v>0.1</c:v>
                </c:pt>
                <c:pt idx="84">
                  <c:v>0.1</c:v>
                </c:pt>
                <c:pt idx="85">
                  <c:v>0.4</c:v>
                </c:pt>
                <c:pt idx="86">
                  <c:v>0.1</c:v>
                </c:pt>
                <c:pt idx="87">
                  <c:v>0.05</c:v>
                </c:pt>
                <c:pt idx="88">
                  <c:v>0</c:v>
                </c:pt>
                <c:pt idx="89">
                  <c:v>0</c:v>
                </c:pt>
                <c:pt idx="90">
                  <c:v>0</c:v>
                </c:pt>
                <c:pt idx="91">
                  <c:v>0.2</c:v>
                </c:pt>
              </c:numCache>
            </c:numRef>
          </c:xVal>
          <c:yVal>
            <c:numRef>
              <c:f>Sheet1!$B$2:$B$93</c:f>
              <c:numCache>
                <c:formatCode>General</c:formatCode>
                <c:ptCount val="9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6535516966160668</c:v>
                </c:pt>
                <c:pt idx="26">
                  <c:v>0.87388193202146691</c:v>
                </c:pt>
                <c:pt idx="27">
                  <c:v>0.35411594345179648</c:v>
                </c:pt>
                <c:pt idx="28">
                  <c:v>0.40657113909393539</c:v>
                </c:pt>
                <c:pt idx="29">
                  <c:v>3.6064811690697382E-3</c:v>
                </c:pt>
                <c:pt idx="30">
                  <c:v>0</c:v>
                </c:pt>
                <c:pt idx="31">
                  <c:v>0</c:v>
                </c:pt>
                <c:pt idx="32">
                  <c:v>0.18428223887646261</c:v>
                </c:pt>
                <c:pt idx="33">
                  <c:v>0</c:v>
                </c:pt>
                <c:pt idx="34">
                  <c:v>4.4485855792578528E-2</c:v>
                </c:pt>
                <c:pt idx="35">
                  <c:v>0</c:v>
                </c:pt>
                <c:pt idx="36">
                  <c:v>1.074536469066999E-2</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1.208548268238762E-2</c:v>
                </c:pt>
                <c:pt idx="79">
                  <c:v>0</c:v>
                </c:pt>
                <c:pt idx="80">
                  <c:v>4.4286341356353787E-2</c:v>
                </c:pt>
                <c:pt idx="81">
                  <c:v>9.5030221921740862E-2</c:v>
                </c:pt>
                <c:pt idx="82">
                  <c:v>8.4190832553788592E-2</c:v>
                </c:pt>
                <c:pt idx="83">
                  <c:v>1.9414048711613129E-2</c:v>
                </c:pt>
                <c:pt idx="84">
                  <c:v>0.15755358841173461</c:v>
                </c:pt>
                <c:pt idx="85">
                  <c:v>0.15608959402706479</c:v>
                </c:pt>
                <c:pt idx="86">
                  <c:v>2.6271937311515919E-3</c:v>
                </c:pt>
                <c:pt idx="87">
                  <c:v>1.6755574253260411E-2</c:v>
                </c:pt>
                <c:pt idx="88">
                  <c:v>0</c:v>
                </c:pt>
                <c:pt idx="89">
                  <c:v>0</c:v>
                </c:pt>
                <c:pt idx="90">
                  <c:v>0</c:v>
                </c:pt>
                <c:pt idx="91">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3</c:f>
              <c:numCache>
                <c:formatCode>General</c:formatCode>
                <c:ptCount val="92"/>
                <c:pt idx="0">
                  <c:v>14</c:v>
                </c:pt>
                <c:pt idx="1">
                  <c:v>13.5</c:v>
                </c:pt>
                <c:pt idx="2">
                  <c:v>13</c:v>
                </c:pt>
                <c:pt idx="3">
                  <c:v>27.5</c:v>
                </c:pt>
                <c:pt idx="4">
                  <c:v>13</c:v>
                </c:pt>
                <c:pt idx="5">
                  <c:v>21.5</c:v>
                </c:pt>
                <c:pt idx="6">
                  <c:v>12.5</c:v>
                </c:pt>
                <c:pt idx="7">
                  <c:v>29.5</c:v>
                </c:pt>
                <c:pt idx="8">
                  <c:v>13.5</c:v>
                </c:pt>
                <c:pt idx="9">
                  <c:v>27.5</c:v>
                </c:pt>
                <c:pt idx="10">
                  <c:v>13.5</c:v>
                </c:pt>
                <c:pt idx="11">
                  <c:v>27</c:v>
                </c:pt>
                <c:pt idx="12">
                  <c:v>13.5</c:v>
                </c:pt>
                <c:pt idx="13">
                  <c:v>18</c:v>
                </c:pt>
                <c:pt idx="14">
                  <c:v>13</c:v>
                </c:pt>
                <c:pt idx="15">
                  <c:v>24</c:v>
                </c:pt>
                <c:pt idx="16">
                  <c:v>13.5</c:v>
                </c:pt>
                <c:pt idx="17">
                  <c:v>20.5</c:v>
                </c:pt>
                <c:pt idx="18">
                  <c:v>13.5</c:v>
                </c:pt>
                <c:pt idx="19">
                  <c:v>27</c:v>
                </c:pt>
                <c:pt idx="20">
                  <c:v>12</c:v>
                </c:pt>
                <c:pt idx="21">
                  <c:v>21</c:v>
                </c:pt>
                <c:pt idx="22">
                  <c:v>13.5</c:v>
                </c:pt>
                <c:pt idx="23">
                  <c:v>23.5</c:v>
                </c:pt>
                <c:pt idx="24">
                  <c:v>27.5</c:v>
                </c:pt>
                <c:pt idx="25">
                  <c:v>6.5</c:v>
                </c:pt>
                <c:pt idx="26">
                  <c:v>5</c:v>
                </c:pt>
                <c:pt idx="27">
                  <c:v>6</c:v>
                </c:pt>
                <c:pt idx="28">
                  <c:v>4.5</c:v>
                </c:pt>
                <c:pt idx="29">
                  <c:v>27</c:v>
                </c:pt>
                <c:pt idx="30">
                  <c:v>15</c:v>
                </c:pt>
                <c:pt idx="31">
                  <c:v>15</c:v>
                </c:pt>
                <c:pt idx="32">
                  <c:v>27</c:v>
                </c:pt>
                <c:pt idx="33">
                  <c:v>15</c:v>
                </c:pt>
                <c:pt idx="34">
                  <c:v>27</c:v>
                </c:pt>
                <c:pt idx="35">
                  <c:v>15</c:v>
                </c:pt>
                <c:pt idx="36">
                  <c:v>27</c:v>
                </c:pt>
                <c:pt idx="37">
                  <c:v>15</c:v>
                </c:pt>
                <c:pt idx="38">
                  <c:v>15</c:v>
                </c:pt>
                <c:pt idx="39">
                  <c:v>15</c:v>
                </c:pt>
                <c:pt idx="40">
                  <c:v>15</c:v>
                </c:pt>
                <c:pt idx="41">
                  <c:v>15</c:v>
                </c:pt>
                <c:pt idx="42">
                  <c:v>15</c:v>
                </c:pt>
                <c:pt idx="43">
                  <c:v>26.5</c:v>
                </c:pt>
                <c:pt idx="44">
                  <c:v>15</c:v>
                </c:pt>
                <c:pt idx="45">
                  <c:v>26.5</c:v>
                </c:pt>
                <c:pt idx="46">
                  <c:v>15</c:v>
                </c:pt>
                <c:pt idx="47">
                  <c:v>25.5</c:v>
                </c:pt>
                <c:pt idx="48">
                  <c:v>15</c:v>
                </c:pt>
                <c:pt idx="49">
                  <c:v>26</c:v>
                </c:pt>
                <c:pt idx="50">
                  <c:v>15</c:v>
                </c:pt>
                <c:pt idx="51">
                  <c:v>21</c:v>
                </c:pt>
                <c:pt idx="52">
                  <c:v>15</c:v>
                </c:pt>
                <c:pt idx="53">
                  <c:v>23</c:v>
                </c:pt>
                <c:pt idx="54">
                  <c:v>15</c:v>
                </c:pt>
                <c:pt idx="55">
                  <c:v>19.5</c:v>
                </c:pt>
                <c:pt idx="56">
                  <c:v>15</c:v>
                </c:pt>
                <c:pt idx="57">
                  <c:v>22</c:v>
                </c:pt>
                <c:pt idx="58">
                  <c:v>15</c:v>
                </c:pt>
                <c:pt idx="59">
                  <c:v>20.5</c:v>
                </c:pt>
                <c:pt idx="60">
                  <c:v>15</c:v>
                </c:pt>
                <c:pt idx="61">
                  <c:v>23.5</c:v>
                </c:pt>
                <c:pt idx="62">
                  <c:v>15</c:v>
                </c:pt>
                <c:pt idx="63">
                  <c:v>22.5</c:v>
                </c:pt>
                <c:pt idx="64">
                  <c:v>15</c:v>
                </c:pt>
                <c:pt idx="65">
                  <c:v>24.5</c:v>
                </c:pt>
                <c:pt idx="66">
                  <c:v>15</c:v>
                </c:pt>
                <c:pt idx="67">
                  <c:v>24</c:v>
                </c:pt>
                <c:pt idx="68">
                  <c:v>15</c:v>
                </c:pt>
                <c:pt idx="69">
                  <c:v>24.5</c:v>
                </c:pt>
                <c:pt idx="70">
                  <c:v>15</c:v>
                </c:pt>
                <c:pt idx="71">
                  <c:v>24.5</c:v>
                </c:pt>
                <c:pt idx="72">
                  <c:v>15</c:v>
                </c:pt>
                <c:pt idx="73">
                  <c:v>19</c:v>
                </c:pt>
                <c:pt idx="74">
                  <c:v>15</c:v>
                </c:pt>
                <c:pt idx="75">
                  <c:v>24</c:v>
                </c:pt>
                <c:pt idx="76">
                  <c:v>15</c:v>
                </c:pt>
                <c:pt idx="77">
                  <c:v>24.5</c:v>
                </c:pt>
                <c:pt idx="78">
                  <c:v>14</c:v>
                </c:pt>
                <c:pt idx="79">
                  <c:v>24.5</c:v>
                </c:pt>
                <c:pt idx="80">
                  <c:v>24</c:v>
                </c:pt>
                <c:pt idx="81">
                  <c:v>24.5</c:v>
                </c:pt>
                <c:pt idx="82">
                  <c:v>6.5</c:v>
                </c:pt>
                <c:pt idx="83">
                  <c:v>13.5</c:v>
                </c:pt>
                <c:pt idx="84">
                  <c:v>24</c:v>
                </c:pt>
                <c:pt idx="85">
                  <c:v>6</c:v>
                </c:pt>
                <c:pt idx="86">
                  <c:v>24</c:v>
                </c:pt>
                <c:pt idx="87">
                  <c:v>24</c:v>
                </c:pt>
                <c:pt idx="88">
                  <c:v>14</c:v>
                </c:pt>
                <c:pt idx="89">
                  <c:v>25</c:v>
                </c:pt>
                <c:pt idx="90">
                  <c:v>15</c:v>
                </c:pt>
                <c:pt idx="91">
                  <c:v>21</c:v>
                </c:pt>
              </c:numCache>
            </c:numRef>
          </c:xVal>
          <c:yVal>
            <c:numRef>
              <c:f>Sheet1!$B$2:$B$93</c:f>
              <c:numCache>
                <c:formatCode>General</c:formatCode>
                <c:ptCount val="9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6535516966160668</c:v>
                </c:pt>
                <c:pt idx="26">
                  <c:v>0.87388193202146691</c:v>
                </c:pt>
                <c:pt idx="27">
                  <c:v>0.35411594345179648</c:v>
                </c:pt>
                <c:pt idx="28">
                  <c:v>0.40657113909393539</c:v>
                </c:pt>
                <c:pt idx="29">
                  <c:v>3.6064811690697382E-3</c:v>
                </c:pt>
                <c:pt idx="30">
                  <c:v>0</c:v>
                </c:pt>
                <c:pt idx="31">
                  <c:v>0</c:v>
                </c:pt>
                <c:pt idx="32">
                  <c:v>0.18428223887646261</c:v>
                </c:pt>
                <c:pt idx="33">
                  <c:v>0</c:v>
                </c:pt>
                <c:pt idx="34">
                  <c:v>4.4485855792578528E-2</c:v>
                </c:pt>
                <c:pt idx="35">
                  <c:v>0</c:v>
                </c:pt>
                <c:pt idx="36">
                  <c:v>1.074536469066999E-2</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1.208548268238762E-2</c:v>
                </c:pt>
                <c:pt idx="79">
                  <c:v>0</c:v>
                </c:pt>
                <c:pt idx="80">
                  <c:v>4.4286341356353787E-2</c:v>
                </c:pt>
                <c:pt idx="81">
                  <c:v>9.5030221921740862E-2</c:v>
                </c:pt>
                <c:pt idx="82">
                  <c:v>8.4190832553788592E-2</c:v>
                </c:pt>
                <c:pt idx="83">
                  <c:v>1.9414048711613129E-2</c:v>
                </c:pt>
                <c:pt idx="84">
                  <c:v>0.15755358841173461</c:v>
                </c:pt>
                <c:pt idx="85">
                  <c:v>0.15608959402706479</c:v>
                </c:pt>
                <c:pt idx="86">
                  <c:v>2.6271937311515919E-3</c:v>
                </c:pt>
                <c:pt idx="87">
                  <c:v>1.6755574253260411E-2</c:v>
                </c:pt>
                <c:pt idx="88">
                  <c:v>0</c:v>
                </c:pt>
                <c:pt idx="89">
                  <c:v>0</c:v>
                </c:pt>
                <c:pt idx="90">
                  <c:v>0</c:v>
                </c:pt>
                <c:pt idx="91">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5.4"/>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0.15</c:v>
                </c:pt>
                <c:pt idx="1">
                  <c:v>0.1</c:v>
                </c:pt>
                <c:pt idx="2">
                  <c:v>0.1</c:v>
                </c:pt>
                <c:pt idx="3">
                  <c:v>0.1</c:v>
                </c:pt>
                <c:pt idx="4">
                  <c:v>0.15</c:v>
                </c:pt>
                <c:pt idx="5">
                  <c:v>0.1</c:v>
                </c:pt>
                <c:pt idx="6">
                  <c:v>0.25</c:v>
                </c:pt>
                <c:pt idx="7">
                  <c:v>0.3</c:v>
                </c:pt>
                <c:pt idx="8">
                  <c:v>0.2</c:v>
                </c:pt>
              </c:numCache>
            </c:numRef>
          </c:xVal>
          <c:yVal>
            <c:numRef>
              <c:f>Sheet1!$B$2:$B$10</c:f>
              <c:numCache>
                <c:formatCode>General</c:formatCode>
                <c:ptCount val="9"/>
                <c:pt idx="0">
                  <c:v>0</c:v>
                </c:pt>
                <c:pt idx="1">
                  <c:v>0</c:v>
                </c:pt>
                <c:pt idx="2">
                  <c:v>0</c:v>
                </c:pt>
                <c:pt idx="3">
                  <c:v>0</c:v>
                </c:pt>
                <c:pt idx="4">
                  <c:v>0</c:v>
                </c:pt>
                <c:pt idx="5">
                  <c:v>0</c:v>
                </c:pt>
                <c:pt idx="6">
                  <c:v>0.27296962627611893</c:v>
                </c:pt>
                <c:pt idx="7">
                  <c:v>0.17453825430309389</c:v>
                </c:pt>
                <c:pt idx="8">
                  <c:v>0.1564936001651197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8.0000000000000016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0</c:f>
              <c:numCache>
                <c:formatCode>General</c:formatCode>
                <c:ptCount val="9"/>
                <c:pt idx="0">
                  <c:v>14</c:v>
                </c:pt>
                <c:pt idx="1">
                  <c:v>8</c:v>
                </c:pt>
                <c:pt idx="2">
                  <c:v>8</c:v>
                </c:pt>
                <c:pt idx="3">
                  <c:v>8</c:v>
                </c:pt>
                <c:pt idx="4">
                  <c:v>14</c:v>
                </c:pt>
                <c:pt idx="5">
                  <c:v>14</c:v>
                </c:pt>
                <c:pt idx="6">
                  <c:v>11.5</c:v>
                </c:pt>
                <c:pt idx="7">
                  <c:v>11</c:v>
                </c:pt>
                <c:pt idx="8">
                  <c:v>16</c:v>
                </c:pt>
              </c:numCache>
            </c:numRef>
          </c:xVal>
          <c:yVal>
            <c:numRef>
              <c:f>Sheet1!$B$2:$B$10</c:f>
              <c:numCache>
                <c:formatCode>General</c:formatCode>
                <c:ptCount val="9"/>
                <c:pt idx="0">
                  <c:v>0</c:v>
                </c:pt>
                <c:pt idx="1">
                  <c:v>0</c:v>
                </c:pt>
                <c:pt idx="2">
                  <c:v>0</c:v>
                </c:pt>
                <c:pt idx="3">
                  <c:v>0</c:v>
                </c:pt>
                <c:pt idx="4">
                  <c:v>0</c:v>
                </c:pt>
                <c:pt idx="5">
                  <c:v>0</c:v>
                </c:pt>
                <c:pt idx="6">
                  <c:v>0.27296962627611893</c:v>
                </c:pt>
                <c:pt idx="7">
                  <c:v>0.17453825430309389</c:v>
                </c:pt>
                <c:pt idx="8">
                  <c:v>0.1564936001651197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6.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0.2</c:v>
                </c:pt>
                <c:pt idx="1">
                  <c:v>0.25</c:v>
                </c:pt>
                <c:pt idx="2">
                  <c:v>0.70000000000000007</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12</c:v>
                </c:pt>
                <c:pt idx="1">
                  <c:v>11.5</c:v>
                </c:pt>
                <c:pt idx="2">
                  <c:v>4.5</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4.399999999999999"/>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C0-4B94-ACC4-60F5DCED60A2}"/>
                </c:ext>
              </c:extLst>
            </c:dLbl>
            <c:dLbl>
              <c:idx val="12"/>
              <c:tx>
                <c:rich>
                  <a:bodyPr/>
                  <a:lstStyle/>
                  <a:p>
                    <a:r>
                      <a:rPr sz="800"/>
                      <a:t>1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C0-4B94-ACC4-60F5DCED60A2}"/>
                </c:ext>
              </c:extLst>
            </c:dLbl>
            <c:dLbl>
              <c:idx val="24"/>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BC0-4B94-ACC4-60F5DCED60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2</c:v>
                </c:pt>
                <c:pt idx="2">
                  <c:v>102</c:v>
                </c:pt>
                <c:pt idx="3">
                  <c:v>98</c:v>
                </c:pt>
                <c:pt idx="4">
                  <c:v>95</c:v>
                </c:pt>
                <c:pt idx="5">
                  <c:v>114</c:v>
                </c:pt>
                <c:pt idx="6">
                  <c:v>97</c:v>
                </c:pt>
                <c:pt idx="7">
                  <c:v>99</c:v>
                </c:pt>
                <c:pt idx="8">
                  <c:v>94</c:v>
                </c:pt>
                <c:pt idx="9">
                  <c:v>101</c:v>
                </c:pt>
                <c:pt idx="10">
                  <c:v>109</c:v>
                </c:pt>
                <c:pt idx="11">
                  <c:v>117</c:v>
                </c:pt>
                <c:pt idx="12">
                  <c:v>147</c:v>
                </c:pt>
                <c:pt idx="13">
                  <c:v>105</c:v>
                </c:pt>
                <c:pt idx="14">
                  <c:v>121</c:v>
                </c:pt>
                <c:pt idx="15">
                  <c:v>112</c:v>
                </c:pt>
                <c:pt idx="16">
                  <c:v>88</c:v>
                </c:pt>
                <c:pt idx="17">
                  <c:v>95</c:v>
                </c:pt>
                <c:pt idx="18">
                  <c:v>83</c:v>
                </c:pt>
                <c:pt idx="19">
                  <c:v>86</c:v>
                </c:pt>
                <c:pt idx="20">
                  <c:v>76</c:v>
                </c:pt>
                <c:pt idx="21">
                  <c:v>91</c:v>
                </c:pt>
                <c:pt idx="22">
                  <c:v>98</c:v>
                </c:pt>
                <c:pt idx="23">
                  <c:v>92</c:v>
                </c:pt>
                <c:pt idx="24">
                  <c:v>115</c:v>
                </c:pt>
                <c:pt idx="25">
                  <c:v>80</c:v>
                </c:pt>
                <c:pt idx="26">
                  <c:v>10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546-4024-B89E-A5427D830B36}"/>
                </c:ext>
              </c:extLst>
            </c:dLbl>
            <c:dLbl>
              <c:idx val="23"/>
              <c:tx>
                <c:rich>
                  <a:bodyPr/>
                  <a:lstStyle/>
                  <a:p>
                    <a:r>
                      <a:rPr sz="800"/>
                      <a:t>1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546-4024-B89E-A5427D830B36}"/>
                </c:ext>
              </c:extLst>
            </c:dLbl>
            <c:dLbl>
              <c:idx val="26"/>
              <c:tx>
                <c:rich>
                  <a:bodyPr/>
                  <a:lstStyle/>
                  <a:p>
                    <a:r>
                      <a:rPr sz="800"/>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546-4024-B89E-A5427D830B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0</c:v>
                </c:pt>
                <c:pt idx="1">
                  <c:v>84</c:v>
                </c:pt>
                <c:pt idx="2">
                  <c:v>94</c:v>
                </c:pt>
                <c:pt idx="3">
                  <c:v>90</c:v>
                </c:pt>
                <c:pt idx="4">
                  <c:v>91</c:v>
                </c:pt>
                <c:pt idx="5">
                  <c:v>92</c:v>
                </c:pt>
                <c:pt idx="6">
                  <c:v>98</c:v>
                </c:pt>
                <c:pt idx="7">
                  <c:v>99</c:v>
                </c:pt>
                <c:pt idx="8">
                  <c:v>90</c:v>
                </c:pt>
                <c:pt idx="9">
                  <c:v>98</c:v>
                </c:pt>
                <c:pt idx="10">
                  <c:v>102</c:v>
                </c:pt>
                <c:pt idx="11">
                  <c:v>165</c:v>
                </c:pt>
                <c:pt idx="12">
                  <c:v>91</c:v>
                </c:pt>
                <c:pt idx="13">
                  <c:v>93</c:v>
                </c:pt>
                <c:pt idx="14">
                  <c:v>99</c:v>
                </c:pt>
                <c:pt idx="15">
                  <c:v>93</c:v>
                </c:pt>
                <c:pt idx="16">
                  <c:v>96</c:v>
                </c:pt>
                <c:pt idx="17">
                  <c:v>93</c:v>
                </c:pt>
                <c:pt idx="18">
                  <c:v>97</c:v>
                </c:pt>
                <c:pt idx="19">
                  <c:v>94</c:v>
                </c:pt>
                <c:pt idx="20">
                  <c:v>87</c:v>
                </c:pt>
                <c:pt idx="21">
                  <c:v>98</c:v>
                </c:pt>
                <c:pt idx="22">
                  <c:v>102</c:v>
                </c:pt>
                <c:pt idx="23">
                  <c:v>153</c:v>
                </c:pt>
                <c:pt idx="24">
                  <c:v>97</c:v>
                </c:pt>
                <c:pt idx="25">
                  <c:v>91</c:v>
                </c:pt>
                <c:pt idx="26">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ADB-482D-857F-DFEB88872F12}"/>
                </c:ext>
              </c:extLst>
            </c:dLbl>
            <c:dLbl>
              <c:idx val="23"/>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DB-482D-857F-DFEB88872F12}"/>
                </c:ext>
              </c:extLst>
            </c:dLbl>
            <c:dLbl>
              <c:idx val="26"/>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ADB-482D-857F-DFEB88872F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7</c:v>
                </c:pt>
                <c:pt idx="1">
                  <c:v>92</c:v>
                </c:pt>
                <c:pt idx="2">
                  <c:v>99</c:v>
                </c:pt>
                <c:pt idx="3">
                  <c:v>91</c:v>
                </c:pt>
                <c:pt idx="4">
                  <c:v>98</c:v>
                </c:pt>
                <c:pt idx="5">
                  <c:v>97</c:v>
                </c:pt>
                <c:pt idx="6">
                  <c:v>96</c:v>
                </c:pt>
                <c:pt idx="7">
                  <c:v>111</c:v>
                </c:pt>
                <c:pt idx="8">
                  <c:v>104</c:v>
                </c:pt>
                <c:pt idx="9">
                  <c:v>92</c:v>
                </c:pt>
                <c:pt idx="10">
                  <c:v>105</c:v>
                </c:pt>
                <c:pt idx="11">
                  <c:v>122</c:v>
                </c:pt>
                <c:pt idx="12">
                  <c:v>91</c:v>
                </c:pt>
                <c:pt idx="13">
                  <c:v>98</c:v>
                </c:pt>
                <c:pt idx="14">
                  <c:v>111</c:v>
                </c:pt>
                <c:pt idx="15">
                  <c:v>94</c:v>
                </c:pt>
                <c:pt idx="16">
                  <c:v>92</c:v>
                </c:pt>
                <c:pt idx="17">
                  <c:v>94</c:v>
                </c:pt>
                <c:pt idx="18">
                  <c:v>95</c:v>
                </c:pt>
                <c:pt idx="19">
                  <c:v>109</c:v>
                </c:pt>
                <c:pt idx="20">
                  <c:v>103</c:v>
                </c:pt>
                <c:pt idx="21">
                  <c:v>90</c:v>
                </c:pt>
                <c:pt idx="22">
                  <c:v>102</c:v>
                </c:pt>
                <c:pt idx="23">
                  <c:v>115</c:v>
                </c:pt>
                <c:pt idx="24">
                  <c:v>92</c:v>
                </c:pt>
                <c:pt idx="25">
                  <c:v>95</c:v>
                </c:pt>
                <c:pt idx="26">
                  <c:v>112</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A98-48E3-B8AE-DC487C364BC0}"/>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A98-48E3-B8AE-DC487C364BC0}"/>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A98-48E3-B8AE-DC487C364B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8.4931012668750583</c:v>
                </c:pt>
                <c:pt idx="1">
                  <c:v>-0.54165499869192579</c:v>
                </c:pt>
                <c:pt idx="2">
                  <c:v>-0.64569720819071874</c:v>
                </c:pt>
                <c:pt idx="3">
                  <c:v>-0.83358088080508452</c:v>
                </c:pt>
                <c:pt idx="4">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A07-4C99-AED3-D6D6615527E6}"/>
                </c:ext>
              </c:extLst>
            </c:dLbl>
            <c:dLbl>
              <c:idx val="23"/>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A07-4C99-AED3-D6D6615527E6}"/>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A07-4C99-AED3-D6D6615527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8</c:v>
                </c:pt>
                <c:pt idx="2">
                  <c:v>99</c:v>
                </c:pt>
                <c:pt idx="3">
                  <c:v>94</c:v>
                </c:pt>
                <c:pt idx="4">
                  <c:v>98</c:v>
                </c:pt>
                <c:pt idx="5">
                  <c:v>97</c:v>
                </c:pt>
                <c:pt idx="6">
                  <c:v>102</c:v>
                </c:pt>
                <c:pt idx="7">
                  <c:v>106</c:v>
                </c:pt>
                <c:pt idx="8">
                  <c:v>94</c:v>
                </c:pt>
                <c:pt idx="9">
                  <c:v>98</c:v>
                </c:pt>
                <c:pt idx="10">
                  <c:v>99</c:v>
                </c:pt>
                <c:pt idx="11">
                  <c:v>130</c:v>
                </c:pt>
                <c:pt idx="12">
                  <c:v>95</c:v>
                </c:pt>
                <c:pt idx="13">
                  <c:v>92</c:v>
                </c:pt>
                <c:pt idx="14">
                  <c:v>99</c:v>
                </c:pt>
                <c:pt idx="15">
                  <c:v>95</c:v>
                </c:pt>
                <c:pt idx="16">
                  <c:v>100</c:v>
                </c:pt>
                <c:pt idx="17">
                  <c:v>98</c:v>
                </c:pt>
                <c:pt idx="18">
                  <c:v>102</c:v>
                </c:pt>
                <c:pt idx="19">
                  <c:v>104</c:v>
                </c:pt>
                <c:pt idx="20">
                  <c:v>94</c:v>
                </c:pt>
                <c:pt idx="21">
                  <c:v>97</c:v>
                </c:pt>
                <c:pt idx="22">
                  <c:v>95</c:v>
                </c:pt>
                <c:pt idx="23">
                  <c:v>121</c:v>
                </c:pt>
                <c:pt idx="24">
                  <c:v>100</c:v>
                </c:pt>
                <c:pt idx="25">
                  <c:v>92</c:v>
                </c:pt>
                <c:pt idx="26">
                  <c:v>106</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38B-4AF8-BDDE-966BA65E8FB4}"/>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38B-4AF8-BDDE-966BA65E8FB4}"/>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38B-4AF8-BDDE-966BA65E8F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C7-4447-B2F7-D8BA7D2502B9}"/>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3C7-4447-B2F7-D8BA7D2502B9}"/>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C7-4447-B2F7-D8BA7D2502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7E-4D75-8A38-0FCBA55821EA}"/>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57E-4D75-8A38-0FCBA55821EA}"/>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57E-4D75-8A38-0FCBA55821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63-47EC-BD14-55821CCAE3D7}"/>
                </c:ext>
              </c:extLst>
            </c:dLbl>
            <c:dLbl>
              <c:idx val="23"/>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63-47EC-BD14-55821CCAE3D7}"/>
                </c:ext>
              </c:extLst>
            </c:dLbl>
            <c:dLbl>
              <c:idx val="26"/>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463-47EC-BD14-55821CCAE3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55</c:v>
                </c:pt>
                <c:pt idx="1">
                  <c:v>49</c:v>
                </c:pt>
                <c:pt idx="2">
                  <c:v>52</c:v>
                </c:pt>
                <c:pt idx="3">
                  <c:v>58</c:v>
                </c:pt>
                <c:pt idx="4">
                  <c:v>96</c:v>
                </c:pt>
                <c:pt idx="5">
                  <c:v>105</c:v>
                </c:pt>
                <c:pt idx="6">
                  <c:v>101</c:v>
                </c:pt>
                <c:pt idx="7">
                  <c:v>124</c:v>
                </c:pt>
                <c:pt idx="8">
                  <c:v>112</c:v>
                </c:pt>
                <c:pt idx="9">
                  <c:v>114</c:v>
                </c:pt>
                <c:pt idx="10">
                  <c:v>137</c:v>
                </c:pt>
                <c:pt idx="11">
                  <c:v>192</c:v>
                </c:pt>
                <c:pt idx="12">
                  <c:v>84</c:v>
                </c:pt>
                <c:pt idx="13">
                  <c:v>67</c:v>
                </c:pt>
                <c:pt idx="14">
                  <c:v>97</c:v>
                </c:pt>
                <c:pt idx="15">
                  <c:v>105</c:v>
                </c:pt>
                <c:pt idx="16">
                  <c:v>107</c:v>
                </c:pt>
                <c:pt idx="17">
                  <c:v>103</c:v>
                </c:pt>
                <c:pt idx="18">
                  <c:v>104</c:v>
                </c:pt>
                <c:pt idx="19">
                  <c:v>108</c:v>
                </c:pt>
                <c:pt idx="20">
                  <c:v>101</c:v>
                </c:pt>
                <c:pt idx="21">
                  <c:v>91</c:v>
                </c:pt>
                <c:pt idx="22">
                  <c:v>104</c:v>
                </c:pt>
                <c:pt idx="23">
                  <c:v>122</c:v>
                </c:pt>
                <c:pt idx="24">
                  <c:v>93</c:v>
                </c:pt>
                <c:pt idx="25">
                  <c:v>84</c:v>
                </c:pt>
                <c:pt idx="26">
                  <c:v>121</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947-4632-9AAE-AFA36593FCAC}"/>
                </c:ext>
              </c:extLst>
            </c:dLbl>
            <c:dLbl>
              <c:idx val="14"/>
              <c:tx>
                <c:rich>
                  <a:bodyPr/>
                  <a:lstStyle/>
                  <a:p>
                    <a:r>
                      <a:rPr sz="800"/>
                      <a:t>1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947-4632-9AAE-AFA36593FCAC}"/>
                </c:ext>
              </c:extLst>
            </c:dLbl>
            <c:dLbl>
              <c:idx val="26"/>
              <c:tx>
                <c:rich>
                  <a:bodyPr/>
                  <a:lstStyle/>
                  <a:p>
                    <a:r>
                      <a:rPr sz="800"/>
                      <a:t>1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947-4632-9AAE-AFA36593FC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99</c:v>
                </c:pt>
                <c:pt idx="2">
                  <c:v>106</c:v>
                </c:pt>
                <c:pt idx="3">
                  <c:v>96</c:v>
                </c:pt>
                <c:pt idx="4">
                  <c:v>98</c:v>
                </c:pt>
                <c:pt idx="5">
                  <c:v>96</c:v>
                </c:pt>
                <c:pt idx="6">
                  <c:v>95</c:v>
                </c:pt>
                <c:pt idx="7">
                  <c:v>109</c:v>
                </c:pt>
                <c:pt idx="8">
                  <c:v>103</c:v>
                </c:pt>
                <c:pt idx="9">
                  <c:v>89</c:v>
                </c:pt>
                <c:pt idx="10">
                  <c:v>100</c:v>
                </c:pt>
                <c:pt idx="11">
                  <c:v>112</c:v>
                </c:pt>
                <c:pt idx="12">
                  <c:v>92</c:v>
                </c:pt>
                <c:pt idx="13">
                  <c:v>105</c:v>
                </c:pt>
                <c:pt idx="14">
                  <c:v>114</c:v>
                </c:pt>
                <c:pt idx="15">
                  <c:v>91</c:v>
                </c:pt>
                <c:pt idx="16">
                  <c:v>88</c:v>
                </c:pt>
                <c:pt idx="17">
                  <c:v>92</c:v>
                </c:pt>
                <c:pt idx="18">
                  <c:v>93</c:v>
                </c:pt>
                <c:pt idx="19">
                  <c:v>109</c:v>
                </c:pt>
                <c:pt idx="20">
                  <c:v>103</c:v>
                </c:pt>
                <c:pt idx="21">
                  <c:v>90</c:v>
                </c:pt>
                <c:pt idx="22">
                  <c:v>101</c:v>
                </c:pt>
                <c:pt idx="23">
                  <c:v>114</c:v>
                </c:pt>
                <c:pt idx="24">
                  <c:v>91</c:v>
                </c:pt>
                <c:pt idx="25">
                  <c:v>98</c:v>
                </c:pt>
                <c:pt idx="26">
                  <c:v>1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A1-4B86-AEB7-1130A8B2E34E}"/>
                </c:ext>
              </c:extLst>
            </c:dLbl>
            <c:dLbl>
              <c:idx val="23"/>
              <c:tx>
                <c:rich>
                  <a:bodyPr/>
                  <a:lstStyle/>
                  <a:p>
                    <a:r>
                      <a:rPr sz="800"/>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A1-4B86-AEB7-1130A8B2E34E}"/>
                </c:ext>
              </c:extLst>
            </c:dLbl>
            <c:dLbl>
              <c:idx val="26"/>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BA1-4B86-AEB7-1130A8B2E3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78</c:v>
                </c:pt>
                <c:pt idx="1">
                  <c:v>80</c:v>
                </c:pt>
                <c:pt idx="2">
                  <c:v>92</c:v>
                </c:pt>
                <c:pt idx="3">
                  <c:v>87</c:v>
                </c:pt>
                <c:pt idx="4">
                  <c:v>94</c:v>
                </c:pt>
                <c:pt idx="5">
                  <c:v>95</c:v>
                </c:pt>
                <c:pt idx="6">
                  <c:v>101</c:v>
                </c:pt>
                <c:pt idx="7">
                  <c:v>109</c:v>
                </c:pt>
                <c:pt idx="8">
                  <c:v>94</c:v>
                </c:pt>
                <c:pt idx="9">
                  <c:v>94</c:v>
                </c:pt>
                <c:pt idx="10">
                  <c:v>102</c:v>
                </c:pt>
                <c:pt idx="11">
                  <c:v>168</c:v>
                </c:pt>
                <c:pt idx="12">
                  <c:v>95</c:v>
                </c:pt>
                <c:pt idx="13">
                  <c:v>91</c:v>
                </c:pt>
                <c:pt idx="14">
                  <c:v>99</c:v>
                </c:pt>
                <c:pt idx="15">
                  <c:v>94</c:v>
                </c:pt>
                <c:pt idx="16">
                  <c:v>102</c:v>
                </c:pt>
                <c:pt idx="17">
                  <c:v>99</c:v>
                </c:pt>
                <c:pt idx="18">
                  <c:v>103</c:v>
                </c:pt>
                <c:pt idx="19">
                  <c:v>103</c:v>
                </c:pt>
                <c:pt idx="20">
                  <c:v>93</c:v>
                </c:pt>
                <c:pt idx="21">
                  <c:v>90</c:v>
                </c:pt>
                <c:pt idx="22">
                  <c:v>90</c:v>
                </c:pt>
                <c:pt idx="23">
                  <c:v>136</c:v>
                </c:pt>
                <c:pt idx="24">
                  <c:v>100</c:v>
                </c:pt>
                <c:pt idx="25">
                  <c:v>92</c:v>
                </c:pt>
                <c:pt idx="26">
                  <c:v>107</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5C-42DF-8B1C-3D8297042E9A}"/>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E5C-42DF-8B1C-3D8297042E9A}"/>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5C-42DF-8B1C-3D8297042E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7</c:v>
                </c:pt>
                <c:pt idx="1">
                  <c:v>92</c:v>
                </c:pt>
                <c:pt idx="2">
                  <c:v>104</c:v>
                </c:pt>
                <c:pt idx="3">
                  <c:v>98</c:v>
                </c:pt>
                <c:pt idx="4">
                  <c:v>101</c:v>
                </c:pt>
                <c:pt idx="5">
                  <c:v>99</c:v>
                </c:pt>
                <c:pt idx="6">
                  <c:v>104</c:v>
                </c:pt>
                <c:pt idx="7">
                  <c:v>105</c:v>
                </c:pt>
                <c:pt idx="8">
                  <c:v>95</c:v>
                </c:pt>
                <c:pt idx="9">
                  <c:v>97</c:v>
                </c:pt>
                <c:pt idx="10">
                  <c:v>94</c:v>
                </c:pt>
                <c:pt idx="11">
                  <c:v>107</c:v>
                </c:pt>
                <c:pt idx="12">
                  <c:v>98</c:v>
                </c:pt>
                <c:pt idx="13">
                  <c:v>95</c:v>
                </c:pt>
                <c:pt idx="14">
                  <c:v>101</c:v>
                </c:pt>
                <c:pt idx="15">
                  <c:v>95</c:v>
                </c:pt>
                <c:pt idx="16">
                  <c:v>100</c:v>
                </c:pt>
                <c:pt idx="17">
                  <c:v>99</c:v>
                </c:pt>
                <c:pt idx="18">
                  <c:v>103</c:v>
                </c:pt>
                <c:pt idx="19">
                  <c:v>105</c:v>
                </c:pt>
                <c:pt idx="20">
                  <c:v>96</c:v>
                </c:pt>
                <c:pt idx="21">
                  <c:v>99</c:v>
                </c:pt>
                <c:pt idx="22">
                  <c:v>96</c:v>
                </c:pt>
                <c:pt idx="23">
                  <c:v>107</c:v>
                </c:pt>
                <c:pt idx="24">
                  <c:v>101</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D9F9E92C-FA52-4442-9BA1-D7747BCD9E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7ECAC4"/>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EE06AD81-74B6-4EBC-97ED-33D96598E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40A0D82B-78E2-4ED1-B806-4B1BA0453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42E2F72-B9E7-4C98-BBD2-4D9FF68D6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92ABB83C-0D26-49BD-8BB1-1774E80E1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604B7850-28A8-4EBE-8BD6-7F3A23C03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8DAD16D5-15E8-434B-8671-0A3190862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A999077-ED2D-43F5-AAC2-516ED4D65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EFCFC74-4148-43B7-91E4-02D9E0B5C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674209C6-D42F-4BFB-9B0D-2BFC0D8EA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36D55ECB-7661-4A6A-B25D-718A3B78B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2F7941F4-6998-46EF-B8ED-A7E277103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D3FACF43-9E93-4EB6-AC3C-325127227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1B120A42-6AC4-4EB2-9E5A-24F937497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E70BC47-0BA5-4C83-ADC6-82C370D2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438D998D-D060-4F83-972D-F88AE6BB5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DAF897C-1A40-4726-84DA-871DE7C86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C8F63293-D479-457B-8D37-65B55EC18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6BA4C2D-ABCB-407B-B9D9-4654A26DE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3D8F30B1-0D37-4324-B4FC-4E6DFE44F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A628B06-D039-43BD-A0E0-F0FCA64ED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4D757839-1B02-4624-958F-247E2AD2A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C3DC7C22-6BAA-4FF7-BF55-08FD62091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01BC805B-AC01-4781-97F9-27EDBE028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FF6B6BC2-9AC4-4235-9A11-A0631ECC6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A319DBE5-F7FD-439A-8D3A-F53205167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264F793F-D8E1-4643-A35E-A595D3AA8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50950A4A-E88A-439F-9AB5-274DBD401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B0161386-0703-415C-842C-65C559B2A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452997A1-3C28-4954-AC24-C542C517D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656788C5-E85D-47B2-B115-EA8B8F9BA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C46CE8A5-BDEA-45E2-9C7D-8E6F26901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C49E23AA-DCC9-4E1F-BE24-CAA372308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5021E39E-6F20-4633-B0B8-861E148A1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D49BD54-AC71-4A93-9BBC-6D37FB31A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10034978-133D-40F0-9ABC-B5EE24CDC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3F0751BD-2EE7-4198-8B11-280470B1C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90DF8AFA-3318-4DD8-9556-7D7E73DEC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315B2A69-30A5-4CEA-80A1-E7F462321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99F59B41-0908-43E3-ACCB-D445E1591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0FFCDD9-5BEA-4D73-B024-6CC54EFB9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5CCB7028-A947-4E3D-B7E2-56811BBBE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836438E-2DB6-4CC6-BA4C-FF64115E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86337B80-03C7-41CD-A075-827CA2BEE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F5A51170-CFCD-4876-9047-BD544418A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6FB31B27-9015-4400-B559-35B29D13D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631E358-1C79-4AAC-8EF4-E662A4F82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9F20ABE-6151-4208-A463-2DB6516E3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D5A3A3A5-3978-49DE-8584-8DB533472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749AE353-63D3-429A-9B49-D28B4C901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63D38CC5-207B-4DDC-8D36-40C3309B0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5E49AE0C-A451-4202-8E19-06189B50C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42C05CBA-949C-45EF-A134-9702211A2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9E1685CC-0F69-4248-A132-C05C1244C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D5F7341-D06B-43CB-818F-0B644F391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92F8BC54-F76A-4914-BDC8-0F594CF1B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FB584DAA-2B0D-4904-8F30-8730672B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F72CF5FB-D9A9-4E94-83BF-1BBFB71EC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D978E010-4F63-42AD-908E-C9FEFF892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20D99CDB-E902-4123-8A8E-34F622E02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1A233B4D-9ADB-4982-950B-DDCB6535D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A659C5E-1D56-4276-8240-BCE25769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D771F08-9375-42FF-BA85-9F4ACD49F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B8E89DC5-82C8-4AF3-8D47-C7B5DFD44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AF433605-55D1-4602-8DC8-2C6BCCAF9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6BC054B1-93E5-4B4D-AF34-F82527854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282CE98A-2E4E-4307-95A4-DEA982706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8F3B6525-64B5-450C-8C5B-F03CF4A0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E6A05E27-DD1B-445A-A8D2-69722EA12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61D7A11C-144A-4CBE-AB1D-CDBF616AA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655C809C-39A7-4D7A-87F6-FAA63D579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FFACAE9F-EF6C-4704-8771-1CFC2212A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57A6E84-0D5E-4903-8F65-5B34A5028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8B4E4E92-A2FC-4025-AD30-3B4A7B284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DDC60E6A-5EAB-4AE4-A204-068DA8472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EF781851-7C47-4F53-B364-16030870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766375B0-394D-4A6B-B475-CB73777A2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D5A38F74-FC84-4FB7-9B98-BE39CCD0C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E7418A41-9D49-4305-BCED-CDDB2A02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455073B0-B2AB-49DB-B98A-54EA0334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19277EA-045E-47AD-8969-9FD6CF70B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701F9AF1-3466-4C2F-9763-EF987731A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04A8E28-3534-4A5A-BD46-3A6BC4829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4A268D9F-2965-49B1-B138-EAC02D08E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6AA36B08-A79D-454C-B571-868EE6C59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0DD89B9B-83B2-4FB7-A48E-3DB008052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1446FDAD-7CD5-411E-840E-E3E3E9AB2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73453829-DCF2-436D-B7BC-7EC2DCF93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70999ECE-C4DA-4D10-9130-003C67058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03FE7B65-B1E5-4150-8DFE-33DA080C8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11282C1-AFEF-4A58-80AD-53D8AE6B6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E51CC56-5763-44C0-897B-C44A2F19F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75CB8357-5E40-47F7-AA4D-776578B02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DD5ABA44-115B-451C-9D1C-8AAC46DDC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FE9AD131-A6F8-49C4-ACBE-85E01A387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E59087F9-707F-4D34-8B04-8699AF265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E9D7D3C4-0389-426D-B5D5-082ACEB8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BCB89117-3280-4941-9897-78FFA3A7C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AF302B2E-E976-4ACC-AC9F-90E11C57D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4A7B196-CC07-403A-8C5E-73B5DDE9F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65BA136D-55C7-48E9-B6CD-3C25CC16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797AA0F-D583-4659-8033-504FC0E0B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DB5FC85F-78F6-4A2B-9EFA-DCAB34559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35514C38-73FE-4A28-B2B0-95BDD96D4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0ECEAFF-69E5-4009-8107-07650C55D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B97F9C19-BA35-4BD5-AB79-70EDE3FF1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50E814FB-4E3F-4FE5-A443-C8F7973E5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F497BC92-2853-445E-8BC2-A1C4D255D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36409A48-4A4B-452A-BDB2-85478A6B4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B073DA6B-A2CB-4725-A58C-7DAD6DE3E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B57C7099-9435-45BC-A565-3570AB81E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A7D46B38-4D09-41AF-A210-06F8969C3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05059CF-7A26-4B5E-BDE6-29F55250E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42086D6D-A2D8-4CB6-958F-5E8BFB2CA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B5430D76-B88C-4B00-95D1-5DBDC0659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E440ED2-B077-482E-8711-438D6DF71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A437B8D4-4760-4BB0-BB03-AC1DA7E2B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53171493485300692</c:v>
                </c:pt>
                <c:pt idx="2">
                  <c:v>0.23134599885546031</c:v>
                </c:pt>
                <c:pt idx="3">
                  <c:v>0.16872448312720459</c:v>
                </c:pt>
                <c:pt idx="4">
                  <c:v>0</c:v>
                </c:pt>
                <c:pt idx="5">
                  <c:v>0.17147629346397339</c:v>
                </c:pt>
                <c:pt idx="6">
                  <c:v>-1.7224132063395691E-2</c:v>
                </c:pt>
                <c:pt idx="7">
                  <c:v>0</c:v>
                </c:pt>
                <c:pt idx="8">
                  <c:v>9.1688710957997632E-2</c:v>
                </c:pt>
                <c:pt idx="9">
                  <c:v>-6.0466840881935003E-3</c:v>
                </c:pt>
                <c:pt idx="10">
                  <c:v>0.13293961100065049</c:v>
                </c:pt>
              </c:numCache>
            </c:numRef>
          </c:yVal>
          <c:bubbleSize>
            <c:numRef>
              <c:f>Sheet1!$C$2:$C$12</c:f>
              <c:numCache>
                <c:formatCode>General</c:formatCode>
                <c:ptCount val="11"/>
                <c:pt idx="0">
                  <c:v>56285498</c:v>
                </c:pt>
                <c:pt idx="1">
                  <c:v>892564</c:v>
                </c:pt>
                <c:pt idx="2">
                  <c:v>6252872</c:v>
                </c:pt>
                <c:pt idx="3">
                  <c:v>10656803</c:v>
                </c:pt>
                <c:pt idx="4">
                  <c:v>423669</c:v>
                </c:pt>
                <c:pt idx="5">
                  <c:v>4603858</c:v>
                </c:pt>
                <c:pt idx="6">
                  <c:v>1929113</c:v>
                </c:pt>
                <c:pt idx="7">
                  <c:v>9544</c:v>
                </c:pt>
                <c:pt idx="8">
                  <c:v>773970</c:v>
                </c:pt>
                <c:pt idx="9">
                  <c:v>1471589</c:v>
                </c:pt>
                <c:pt idx="10">
                  <c:v>627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Schick</c:v>
                  </c:pt>
                  <c:pt idx="3">
                    <c:v>Gillette</c:v>
                  </c:pt>
                  <c:pt idx="4">
                    <c:v>Harry's</c:v>
                  </c:pt>
                  <c:pt idx="5">
                    <c:v>Bic</c:v>
                  </c:pt>
                  <c:pt idx="6">
                    <c:v>Dollar Shave Club</c:v>
                  </c:pt>
                  <c:pt idx="7">
                    <c:v>Van Der Hagen</c:v>
                  </c:pt>
                  <c:pt idx="8">
                    <c:v>Comfort 3</c:v>
                  </c:pt>
                  <c:pt idx="9">
                    <c:v>Equate</c:v>
                  </c:pt>
                  <c:pt idx="10">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1770506499326</c:v>
                </c:pt>
                <c:pt idx="1">
                  <c:v>0.12184098272105359</c:v>
                </c:pt>
                <c:pt idx="2">
                  <c:v>0.19018759554799902</c:v>
                </c:pt>
                <c:pt idx="3">
                  <c:v>0.1403238431935146</c:v>
                </c:pt>
                <c:pt idx="6">
                  <c:v>0.13979818966998886</c:v>
                </c:pt>
                <c:pt idx="8">
                  <c:v>0.11070850995352473</c:v>
                </c:pt>
                <c:pt idx="9">
                  <c:v>0.27959904273754699</c:v>
                </c:pt>
                <c:pt idx="10">
                  <c:v>0.30658023166517162</c:v>
                </c:pt>
                <c:pt idx="11">
                  <c:v>0.22900985604286539</c:v>
                </c:pt>
                <c:pt idx="12">
                  <c:v>0.35222284581950392</c:v>
                </c:pt>
                <c:pt idx="13">
                  <c:v>0.37066507242125163</c:v>
                </c:pt>
                <c:pt idx="17">
                  <c:v>0.41596848634506278</c:v>
                </c:pt>
                <c:pt idx="18">
                  <c:v>0.54917780205619515</c:v>
                </c:pt>
                <c:pt idx="19">
                  <c:v>0.64936726085181662</c:v>
                </c:pt>
                <c:pt idx="20">
                  <c:v>0.39265997978384265</c:v>
                </c:pt>
                <c:pt idx="28">
                  <c:v>0.16810621011354024</c:v>
                </c:pt>
                <c:pt idx="29">
                  <c:v>0.37472799959516218</c:v>
                </c:pt>
                <c:pt idx="30">
                  <c:v>0.18008336310587114</c:v>
                </c:pt>
                <c:pt idx="31">
                  <c:v>0.35760854777776613</c:v>
                </c:pt>
                <c:pt idx="32">
                  <c:v>0.29457202831441714</c:v>
                </c:pt>
                <c:pt idx="33">
                  <c:v>0.18821315197200955</c:v>
                </c:pt>
                <c:pt idx="35">
                  <c:v>7.6286530039083214E-2</c:v>
                </c:pt>
                <c:pt idx="36">
                  <c:v>0.73126908968204718</c:v>
                </c:pt>
                <c:pt idx="37">
                  <c:v>0.75944983818770229</c:v>
                </c:pt>
                <c:pt idx="38">
                  <c:v>0.5469623977496848</c:v>
                </c:pt>
                <c:pt idx="39">
                  <c:v>8.5957627198036402E-2</c:v>
                </c:pt>
                <c:pt idx="40">
                  <c:v>0.40222629336094629</c:v>
                </c:pt>
                <c:pt idx="41">
                  <c:v>0.45464912538298141</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218FEBCB-DE62-467B-B83B-AB015852AC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E8C1BAD5-E4B4-433C-B1C3-BBA78A443B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B93EB9-75F5-4946-B97F-808CA60CED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4B06519D-72A6-459A-9502-1BFAE875AD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290D1E2-3676-488D-9FC3-606028960C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68485C02-5DB7-4E20-A689-CF59CBDCA8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8EBA9AD-E173-449E-B904-D620F91B5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DD0F5FF-34D8-40AB-940A-1B6288A015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431B6B59-8424-40B6-800B-AC46F13385A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EB79FFC-84B4-4516-83FE-DA213F98B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61AD18AB-A6E3-4585-A90D-F805E249DA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0A357B85-4D19-4EA0-9814-795F64FBE8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9ECC1A5E-6E99-4D3D-81BB-1DDEF855E9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4DFDD914-78F9-4B33-A3BD-450697B722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1A8ECBA-7379-4190-B4EE-CA06896EA9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6C4BA25D-0543-496D-8A09-6E2D59380A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C104368-B030-464A-980B-6A3C40E1FC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9CE054B1-EFB9-4707-A40D-1D6ECA1BD6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9CF1E8E2-6F42-4D60-AB31-902C566817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0E5F7F9E-866D-47B9-BBC4-7EF5AA0E35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1E9D8C40-F54D-4A48-BE26-5FC10C0551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F5D4B01-C36C-4CDD-AA46-0E4F35A2B2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3DE7A897-5C4B-4388-AEE0-7122E06F17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E1858DC1-C863-4A3A-95FE-9B70920FAE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B84603A1-6A28-440E-9A19-359063591C0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A6CA921C-84E0-4B66-9F07-08DD50AD83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DE68D445-F5DB-4580-868A-A444F4DC28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159196FF-24FA-40C6-8D90-7493DAAD69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D428CAF1-6DE9-4342-B942-8695C01E08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5903E165-82FD-4AFD-A789-B3A5E44E9F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AD3F6B11-CE7C-4AC0-9035-48F21E4046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FD94DEF-F39A-46A5-92EC-FCBEDAFFED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725A-465E-AF7F-3226BED62567}"/>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5A-465E-AF7F-3226BED625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92DEC81-1EC5-4278-BAEC-C277BD4F63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D816A032-F751-4718-9ACE-DECEB90E64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7317B241-8794-4B94-92FB-69FF951C29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F7C4F40-F04C-4120-9B8D-CC4BD444A8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C281D1A4-DC65-4ED9-BE9D-5CC0787023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F2BC3D7D-6D49-4102-8671-9CAB1315C5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90C9D81-CCCD-4FDD-9AB1-CA2B424A43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56CEF8F2-8792-4F2B-BA37-CEE8C5B1FB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826AE163-10E4-40D8-9D78-B36EED477B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39042F4-09E1-40B8-B2BD-0791281C3F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EC103CF3-C22E-4602-8375-9AAF947710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EDABE4A-E3F7-48FA-99B3-32FDB8EB2C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C20B663-96AA-4C61-ADAD-CF79CEB4A2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48DCA69F-3D3E-4135-8E43-05E449A891B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120DA8A3-DA38-4605-B05C-9AC38DAC93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581EABF2-7AD6-43C0-A836-7BEB87C2F0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421F7B4-5C35-4EA0-9A61-4303A0BDCC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388EE71-F46D-48ED-8E28-F09F9FD5A9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75FA01F-B8D8-4263-9C29-8648EAA321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8C1BE091-B080-47AB-AC27-A86F930998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821B21EC-F4CF-4675-945F-601AD3096B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59F1B923-B59F-4BDD-8A5C-1D75E812F1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00ED7752-3E0F-40FB-BEF9-F1F8AF8A01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660BB41-4087-43D3-A767-2430BA277D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1A2E03E-35A8-456C-8F95-214B5A1BA7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C9906251-7B60-4931-823C-72DC9C7237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1DB3BB90-1092-4486-933F-8D5F1A3357B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695CF37-56C4-47A1-9561-E7E96A5FAF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63D0B680-610A-4C85-8235-855ACBCACB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4639F304-92E9-4220-B671-226EB7B840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5D9EB49-7713-4FBC-BCAF-ABD9A8B3DF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B58A9D2-9C7C-451B-954A-141C605AA3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D5CF-4B77-A1EB-D23249080428}"/>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CF-4B77-A1EB-D232490804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C524E2C-B052-4116-8577-350E0E9F55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8EE9DE87-AC2D-41B4-8DDD-F3325FFDB3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4FC14C53-3A6B-41F5-A33E-D6AA68C89E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BCFFD0BB-6811-4060-8B9F-CBF7D657B5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9A8A94C8-4EF1-4995-B74F-43669EEDCD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D0D00A88-84F1-411A-90CA-D570D3CF1D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BB89D8A-CED1-471F-B38F-E6A15CBDD6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4825F3D9-384A-40A1-A3EA-3CFF2EE47D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A4CA3ACD-FAEA-4F83-96CA-FB042697EA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D423F050-4E18-45A3-8CFA-5429364DE9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5192D7B3-D0E8-464A-8B18-3CCAC6E116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D1B89A-3C30-4B1C-987F-D92B631D18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3AE196D4-C18F-42A1-9112-0E6CEC1C5D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C90BFA26-CF07-493B-B7F9-396E54E69A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BB3323E8-4771-4671-9CC9-FBF68A7C83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25EF06D-719E-44FB-B238-AF3684ADAD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227AC6B4-536D-4335-8B37-C5C22E26EF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1435F41-F762-49D1-9D54-6F72A406F3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F076EAD-2D98-4EDF-8840-789173B252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FB415E28-51C0-47D3-BB6E-959CE5EDD8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4E55F3CC-4A0F-412D-9CA1-8742520099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11EAFB5-2BA8-4264-924B-A2E940B3E4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FB452B13-7C0D-4311-8D90-1F97C6E590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1F51BBA-C24B-49AD-B67E-D132E33652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DBDDC50-7113-4CD5-A7E7-B86A470706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1030C489-40C3-4870-A1F4-86D548BADB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01D78636-0BCE-438D-B8B4-4A8B856590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BCEF832D-EBD4-4E59-A8BE-CB232FD1A2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AB2AA1DA-5AB7-4083-B2C5-F15AE1F997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A7C68382-ED0A-45B4-AE56-BBDC2383D4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7444B06F-4E71-4771-B8F3-AAE77355D7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AC5E522-E052-45DD-82DC-4090B21554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0033-48B7-9F40-6383D50A9B7F}"/>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33-48B7-9F40-6383D50A9B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3D0E593-6C83-4CBE-A6EE-7C1A2405E6E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9B201F5E-6ACD-49FB-9DB8-802E0D8A32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DB635168-46DE-44DD-80C9-2BAA8972B5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D9941AE4-070D-4FA3-A90E-8B8787C9AE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A123567-4B24-4DF5-BFAC-6B9D3BB6F2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38B85B1-7FE5-4193-A6E8-7B43AF0D72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A69710E-D512-42A5-AB3C-D1D751A2D8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6D3749A7-30CE-4691-B43A-BD85CE0CCC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4967A8C9-8EE0-42AA-8CDD-D3CEF976AD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BDC042D-7890-4821-9737-F77DA78958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DF57797-2F4B-4D4D-91DA-82B993CE77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3C8FDA62-BDC5-42CA-B66B-26CF20EC26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BC26B423-5E48-4FAA-A7C4-FF853BA3BB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1EFE6D2D-A410-4542-891D-AD273A841E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11D31376-9D85-43DF-A3F9-EEDD1BE976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0E08EE18-1D0A-46C9-9988-7C73739A89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ED58A1D6-B62A-4EEA-B2A7-FA09EC67AB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A7091B4C-1B5C-44F1-AB69-9307C77B25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1E77E986-EAEE-4FE3-AFF9-A3467837F0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0509AB9F-D36F-4FFD-A493-B0B9B81FE2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13BC68B2-72C4-4F03-AD8B-0A89AB6D1D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CC2B6222-3D30-4E4D-B1A7-6B247CF12A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A1C126F8-3998-4F34-9E98-4A266FE614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8BF12615-8AD4-46D0-9766-1B501433A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833CEB83-BA2E-4A38-B383-3DE10A3D76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8F6C90E0-DE27-4374-A108-5D1B311CF0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70599E9-C0A9-4D40-B2BF-289B0BA457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88A51E52-89E5-47B4-A60C-211C9572A5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4D185A11-B05E-49A1-8B05-330FF2A412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93C5FAE-A139-4BFF-A5A3-E6992B9C53B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3C395288-B771-4668-B0DA-B236F78AC0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7D76F913-A4E3-4B0D-B00D-1D3DC4EDFC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8FA65D4-0644-41C0-954D-425401A814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6975-4C6E-B9DD-483CFC661933}"/>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975-4C6E-B9DD-483CFC6619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7ECAC4"/>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F8995D1B-20CD-4FFD-AC69-30C585F89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42356FC1-0078-4765-BEC5-2E087B659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D51AB2B-64B5-4C14-999D-A56A45B6F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4B90665-6C55-46A2-9BB0-ECC0FF56F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D79E4310-9560-4D47-85A5-83E42D144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D2C58757-4230-4D86-9142-F21EA5C0F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8AAB1E0E-4E7B-4148-8503-4E0EA2438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595096B2-757A-421C-9E77-2D5298054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2F5C89C4-23EC-4C51-825F-EB133F66E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16490D92-FB90-4209-8304-723039E30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0762BD0E-FBA7-4A2D-9F4A-F7D261814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CE375A0E-0140-4108-A9E4-35F535560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E0CB84B5-BA1D-4A3D-A47F-E51CA97E3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1B52B234-2FDC-4148-863B-E948A7788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5E5C9764-3E0D-4804-8352-A95483F2A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909AF4E6-9477-40EF-9FB0-F2713764A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043C3C2F-9B16-407C-9AAE-40A72B1D3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654B9FC4-5B20-48B1-B3FF-96747AD43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25D7E650-05D3-49A6-93B0-E95888701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1BA6842-C4AA-42D0-8B29-D64311EDF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C3939AC6-A087-47F9-A11C-AC342070D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E750C224-18A8-46C6-8BE8-213A98A5A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78C16497-E9A4-474B-80FD-BC667B66A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8DB7BF15-04AC-47A5-81A7-B0147D7A0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179AA0F-6DCB-48D5-9289-B98FB4295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E6B42013-D4B3-459E-BCBA-92BF48248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F5C853D2-3649-4A9E-84FF-CC4A4887E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75B902C3-91C6-46B0-9D39-88578A3FC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E822808D-727B-42FF-94BB-D5540D2C4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8CE444E-7E90-4754-8DD7-B2D1E2D79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5BDE945E-6DBB-4F67-9A97-A74359A84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D6464905-2D47-4ED9-9AED-65C13F3CE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B2268B70-E42E-4CE5-9489-99EA78E42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C38A16F3-19DA-48EA-A1ED-ED8B4FB4D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15317527-41F2-4C31-800C-DB5349962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63B437BD-C98E-45C0-847B-3DF329245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248F1FEC-2072-4DEB-AF8A-E190F25F8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E4D2474-F3BE-4F82-B2D1-3FF568D24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F9691810-1C32-464C-B722-892583465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643E90BF-4B03-4088-8EBC-E7FC86975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E13FDA11-7051-4E44-AB27-785B0282E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C0F4442D-5780-40CA-8B29-143D3010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3047DE91-416C-443E-8A25-6DB6690A0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CAF83FAF-3FDF-4DF0-B8A2-FBA286270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01AD22E4-4F20-4D58-BEBB-CCA1929F1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0E43075-BF83-496E-9708-AB54D4A16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08998A9-5065-4F62-A0B1-0B6DB233E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1CC843B-3342-45EE-8DCF-EAFB90457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C42D9899-AFF8-4BC3-A8C8-C42ED2763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DA113C99-77DC-4E05-A77A-E9B8FE49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E93B81F5-3D42-4E8D-9FE6-913681462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7DBE2F10-DDF7-4194-8EFD-1A1059D6C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8EB0987F-7636-4F61-9C2D-8B2ED110E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58ECD362-A0AF-4D9B-B57C-ACF1F5C5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B821CF5E-1AFF-44FA-8E4B-511A59CBA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41793534-A2C3-4974-A1EA-27DA9EA09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8BB5FA97-3683-48BB-96EE-7B2E1994F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0CB9E980-3E0B-461B-910B-258A29F50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D18D35C-3B8C-4BEB-B5E1-8FACAE388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35E41580-1354-49A7-9EEB-BC0F9366D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961797EF-7326-4C3D-A7D9-49186FF38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7DACC48-6618-4D75-B9BB-BDCF34930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30606BE5-4562-4F3A-A65C-E164A171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AE8802CB-0472-4AD9-B52C-3EF675F40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0AA096DF-39C1-4B23-BD85-8A109312F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EEF5EA34-CEAB-450B-9B9A-CA5886D84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4CD27C47-FFEE-456D-A425-2C1417CD1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D159DCC9-413B-40B4-A564-B1195393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C37C06EC-7B13-47B4-AA09-1F7EB5607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FD542F7-6EC5-4A96-AEE9-C74653CAE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8E941A45-AF50-4077-878C-DA5B27CAA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9DF1A7FA-B7CA-405E-866B-3BBCE4B07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830A0659-7565-43F2-857C-D39C42962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80822D2-8AE4-4A5D-A40E-9F7ABDB73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CFF01D1D-A6A5-44E0-9ACB-B90DB6080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097A5BC8-772B-4738-8952-80447B110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F9F4FC6F-4CB5-4CC8-B2F3-64E147087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5CAAE153-002B-49FF-BD6A-54D8384E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86BDF110-3AF3-4D6D-AC68-7BC906BB5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CB607BE7-B67E-4146-A116-01E9D80CA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98FA6B6E-6CF0-4677-846E-6B50F9302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1913D239-D13A-46B0-B463-90033FA68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042B750-02FE-4E48-A8A2-33F87CC37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5DC91146-CEDD-470C-9E15-6B140C053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AACCDF2-F196-4E16-8BBB-D88EAE46C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646B0214-E3E2-4B5E-BB06-0EE43900D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FC3691A-5CF4-4A26-A005-D64D79432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B7AC374D-8E87-405E-8A47-A36BDD1B8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B13A28CE-2AB9-4239-ABAC-E35C4DDC5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2F3BEE9-9060-419C-93D4-3E5C8956F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0DBCB0DA-E7BD-473E-8173-91C7902B2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FCC1FC0-ACE3-45DB-959B-91A23F283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31174C97-518C-41D8-854B-754D29D74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365A1E61-25FB-4C07-BF26-E77AA5D08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CC915857-E065-4B2E-84E1-0F127BED2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0637D128-0EE1-40F2-9B06-A7C047CAD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9F922E91-3EE0-467D-ADB4-28A968A4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120F3D8E-EF5C-47AB-B58A-B643927C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D8C9B8C6-C9BA-4F76-BA13-CDB19D144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83D9CC3-9B56-4EE6-ADD1-5BBB6F2C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5478A093-ABE4-4FEB-A2BE-0138293C9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0DDB2723-FDFD-4CD2-BC83-84BD9A4B4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EB4AFFB4-E077-451B-A827-4D66D1EAB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D7474741-B2ED-4CA9-BECD-2A53B6012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8EA55734-21E2-48A6-A44D-FADC612F3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C23D2DE4-0070-4D78-AB8F-D3FD7323B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243C01E-A272-479E-A879-C23E0FC01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B7D97159-DE72-491A-B090-9F887BD22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38023CD4-90A0-438E-9C1C-5F5C15700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6309DA64-B1DB-4201-AECB-D131D2B59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050B6636-DFE4-4D54-8D1A-E405499D8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4E2B3769-C3E5-4266-A11A-A5A77ED3F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C8FE9844-DCC3-4C63-9433-A9BC1E9B3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3C6B7BD5-0F86-48CE-BDCA-FEB875845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E4A2DF3B-4E8E-4E18-8BCB-2D4597067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B1D90EC4-9037-4EEA-BE6D-3F0AFD95D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1.7224132063395691E-2</c:v>
                </c:pt>
                <c:pt idx="6">
                  <c:v>0</c:v>
                </c:pt>
                <c:pt idx="7">
                  <c:v>9.1688710957997632E-2</c:v>
                </c:pt>
                <c:pt idx="8">
                  <c:v>0.1008775144845046</c:v>
                </c:pt>
                <c:pt idx="9">
                  <c:v>-8.5369613682766091E-2</c:v>
                </c:pt>
              </c:numCache>
            </c:numRef>
          </c:yVal>
          <c:bubbleSize>
            <c:numRef>
              <c:f>Sheet1!$C$2:$C$11</c:f>
              <c:numCache>
                <c:formatCode>General</c:formatCode>
                <c:ptCount val="10"/>
                <c:pt idx="0">
                  <c:v>46417119</c:v>
                </c:pt>
                <c:pt idx="1">
                  <c:v>892564</c:v>
                </c:pt>
                <c:pt idx="2">
                  <c:v>10301310</c:v>
                </c:pt>
                <c:pt idx="3">
                  <c:v>423084</c:v>
                </c:pt>
                <c:pt idx="4">
                  <c:v>2887750</c:v>
                </c:pt>
                <c:pt idx="5">
                  <c:v>1929113</c:v>
                </c:pt>
                <c:pt idx="6">
                  <c:v>9544</c:v>
                </c:pt>
                <c:pt idx="7">
                  <c:v>773970</c:v>
                </c:pt>
                <c:pt idx="8">
                  <c:v>4032718</c:v>
                </c:pt>
                <c:pt idx="9">
                  <c:v>330412</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Dollar Shave Club</c:v>
                  </c:pt>
                  <c:pt idx="6">
                    <c:v>Van Der Hagen</c:v>
                  </c:pt>
                  <c:pt idx="7">
                    <c:v>Comfort 3</c:v>
                  </c:pt>
                  <c:pt idx="8">
                    <c:v>Schick</c:v>
                  </c:pt>
                  <c:pt idx="9">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0F47D65D-FB39-4793-A740-E1BFDC6DA3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2AEE1690-D3C7-44A1-9274-AD6470CC2C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22F33CAF-5DB5-4E59-B495-D0AD1F1C52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D130B4B-86E2-4549-A277-EE801DC899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B40D2197-46F0-4CAF-9D90-76883EDE43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13CE908F-63EA-4484-8A04-11AD93E1E7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48F8AF9B-B195-49BB-A290-568B4E9538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B64221BE-5203-4FDA-A004-7332C249B8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6AD9D2B-F645-4E31-A578-A647E0FB09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C34B86B1-AA73-45FD-B9AF-317B93E39B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3A71026F-36EC-4499-90E9-FEDFD8BD8B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F01752-91E9-4525-8CBB-A751215929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B2D1C03E-0543-41E2-8DB4-3C13EBB69A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C016C397-6EB9-4CB9-9D1F-A0916DA5C9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E9EA3595-EA45-4EE5-BCD8-FF3E02DCF4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0265A6E3-FF0D-49C5-8AB5-A25218E94B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6DA1E96C-89B9-4A9A-97B3-95CEBA72B2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1FAD5D8-C2D6-4FF7-9D92-A59CBA5332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05171561-EA5F-4ED4-8A34-A39CFA1AB0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E4651B8-6BFB-4419-9C0C-04AF8EFB30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CC10D9BC-8A8D-4213-92F5-5456298E16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91A454B-1182-462A-878F-438B9395E7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2885787-4146-4689-AA77-39CF660EF0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DFF64B5F-9E86-4E02-B0A6-4C1F990EC2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9114FAB-E229-45CC-A5C8-ED5D03095A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5F3A90C5-79B8-4D05-84D8-04D87D287A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AF1ED751-A250-4113-8523-0A55329A37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4DCB32BA-B30B-4C3B-BE9D-2DA126269B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8AFAAA06-8A6D-4436-8245-F6010A32AE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C8C1C32B-E5C8-477F-9245-220EADD543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CBACEB1-2CEA-4F13-9127-0C43A26184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1FEA009-AABF-465B-8242-3892196FA0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EA24BD42-B976-45B9-B851-B3C7875998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3F40B5E9-E794-48D6-A575-3606C534D0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B46D1CA-BF3F-4586-B240-A373C7B076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E87EB22-3C48-48C7-A88A-2785E03A9D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0F7E563-B0CC-4E66-A011-9A0E47A9E9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E48248FF-9A1A-4138-9E54-32B7C4FE7A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96DBD0B-1C00-4381-9FE5-17C24B365B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04714AB8-9C81-4DCD-80A4-B508074A57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A4C0FD1-EDEA-4434-BCA5-9F237CADC0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8AA3CAD-BF34-4863-BDC2-9CCC40316D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ECAA5131-5428-4C72-B3C1-D12A30811E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305A900-5CE5-42E0-A623-CF92F89C97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AD3C73C-928C-4219-83AA-4C1B517C3E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C7160C6C-B0D5-4A39-A5DB-72B7235C3E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BAACC6F-1C20-4B7A-9970-30EFC939D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C6FA5EEE-7416-4083-A948-6FC9D6490E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8015218B-44ED-43D1-9228-4267D11718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F2836EC4-D8C5-4EBD-851A-F02BA88246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5012A13-35B3-4669-98BE-FE696AEFB0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BC76F3C7-1ECC-4A54-9E7E-BD4CE50126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551B3A62-2C24-4199-A73F-96CEDCE507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398490D-8AA9-478D-89AF-97B3698A79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DFC3E25-C094-47E3-82D4-63BFA221DC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DB9347C-A9ED-4AFC-A57E-A718FF4DAC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8BCD4C9F-8E6D-488A-A9EB-6AA894C2D7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2EAB752A-2FE9-4ECB-8A55-6F1A93271D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461FF037-69AD-490E-8800-D2DE301131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94AC9AD8-C617-40C9-924E-9016A199B5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129E4204-BD9E-412D-A2D8-D2F6263196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A505B2B4-8DE1-4CC6-853B-01D7D3C9A4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46EEEAC-0655-4A5E-8B87-E812ED5F03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84A4B60F-C17E-4F7C-8BE8-1DACD89255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67654503356877E-2</c:v>
                </c:pt>
                <c:pt idx="38">
                  <c:v>1.83141902803906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353352F-0B34-4C9F-95B0-A87D849D553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5C2A90B3-8A73-4B37-9A82-634AB47D97D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5FC07BBE-86AA-4714-A8CE-055DA2AB3C9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2289BB83-00BB-459F-A23A-7C21BA64F0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F64F48E-F60A-4079-9EEE-3FFBC4725E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7FA630C-4B4F-430C-BEA6-32ED732440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18E87323-0C7C-4081-9219-EC247BE533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9D9992DA-EB5A-41F8-9EBE-1D46AE27A7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7633AA08-6A75-4397-9392-A543591758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B0FC520E-7C29-4F92-95CE-02BB2D55D9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C7831BA7-CC38-43B5-8FB8-9E88320DE0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E3BAB61A-098F-4870-B9BB-3C75121521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BC36BF53-8E84-4986-B207-A6905FACE8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CC0B4C1C-BC0C-4A4E-ADCE-3F11A1FDAB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F228302-69FA-490C-A712-51A249E8419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182F6150-042B-4D30-8722-2D2708D887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80EC0C65-7C72-459E-8DFC-3EDAB04696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F1EDF34-BE0E-4E98-81E3-ECB5CFBB9D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5F588286-580A-4726-B1FA-CC22B751E1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3E93422-7671-4AF8-A311-E19B1256287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F2B5056F-A641-46DE-99E1-80D4D3D4A2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606C0F32-1F9D-4510-8133-4C35CBAAE6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BB089F6E-C0BE-497B-AE68-5203AFFA158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8624F36-20C4-4B0D-BEB9-AF5DD8F206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EE71459D-4802-4B08-A9DA-095E7E7FBA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E24DD529-8F95-41E8-BD61-675E26D961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B83C3CF3-508C-4908-AC17-15232D1C594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10702C71-C834-47CE-B5AF-8EDFEEAD9F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DC758B35-4924-4257-B819-C81E50A0F1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F422FA41-AFF0-4B2F-83A8-52026378D5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53346E33-D6BF-44E2-9456-FB6B3F7C69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081AE6C2-3974-49AB-B202-A1D7336E2C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001019A4-089F-4FC3-BF4D-E459627A39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EC57D613-8E74-4683-AEEB-29D8782499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0D647EF7-B82B-425B-A0CB-3DDB4D6A2E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6A321BC-1422-49BA-940B-10BA8372ED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978FA497-2FFC-4F8C-98A1-CD71CC984A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EB09185-EAAA-4F29-B933-076509F980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D9ADCAA-19F6-4681-80B1-37F06EEA61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2BDE65FD-BCE1-445B-BC58-3FF07CC79C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A258BF3-35CE-45AB-A066-6CA69085B2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F05CEA69-0F9A-4846-9D84-6DA7815582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6218D6D1-419E-4F35-8643-536A673A5B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FACD459-D247-4909-ABF8-CD500A6D7F4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6EE2827F-CFEA-42D1-8441-9CF831724C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2D3900D-3034-4A14-82C8-2667137B08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2E636C6-7295-4450-8E49-1B0722B185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FB67F347-BC06-453E-872B-754157BDB8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4ACD4025-2E3D-4B1A-A512-885256353E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976A7BD4-D4E1-4D94-8C3D-E63A55E184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FE222C05-08D9-450C-9D44-3D83FB6B866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366B3C36-3713-46BE-ADD9-439C71A6E5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5A89B29F-710C-4D9F-A21E-5F3D4841BD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E07B9C40-9708-4542-B9B4-ACF6897116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F5611404-FE96-4545-80A7-6F3A506AB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531A4918-3DAE-4239-A70E-9AAAB3A2BE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A7A7C5B9-24F8-4075-8B6B-76319E10D5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C51B0D20-26A4-4B4C-9B8B-87D8FB5C67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0B1502E8-A0CB-4F3E-AB82-FAE32C644B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AAFD4961-BB1E-418E-A2EB-CA2D39CEB4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1EE19B86-823E-40B1-B644-41AD813156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743229B8-68AB-4BC1-A586-4C0914D327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D9507B45-D708-4864-9F64-881DB65965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4A2D7CBC-DC6B-4369-8B14-BA5411D040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9374289059192E-2</c:v>
                </c:pt>
                <c:pt idx="38">
                  <c:v>1.83141902803906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05D031A-6F1D-44BB-88E5-EDE6C763EE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63D15214-97C1-4A72-9F86-7FA73F9EB2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6F394D42-851D-48AF-A92F-8D3E328928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D4CC744A-6181-487A-9BD1-A6FD111915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D628D5C-E008-4E77-B7D8-1C87AAC0A4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C3CF0F2A-817B-4520-B085-C60496DEE8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FB39C53-C12D-418E-A59D-3C0000E6EC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0322E62-C322-4270-9C7C-3F7C12B356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A0E06A49-AD55-4F90-AD0B-F1827F0114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E2D75297-56F5-4DBF-895E-1B7CF3721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B8E285B2-2438-4E70-8E0D-BF0BECF7DC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AE37DDDC-6C8E-4391-8B53-C3A794271E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874650F2-C1F2-4BB7-8C4F-1553C61376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5301FF54-67C1-4FED-9484-2449A9049E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F1304BE9-D753-42C6-A0F0-346273C693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AEA9AA91-3FA8-4B28-B7A7-8A3FFED71A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AE032D7E-FCFE-4B31-A378-092DFCB596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A019A48-5969-4780-A994-DD53CAB55B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EE702B3D-C126-4513-90D8-9BDF93C172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99A560A6-2958-4C66-AC01-5004063EE8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CC9C621C-867A-4098-AE14-8AE6AC5F7C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CE70DC3F-0D95-47BF-AC0C-2637536666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72B3F5D6-DCF6-4D5D-8962-3822B1780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930A1F7F-88BA-4187-BA22-F5E3EDF57A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B30412B-FBE6-472E-BD41-7EEC2F556E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F54A58B2-36CD-4F2C-B442-3EFD9B5135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EE82C3C8-1B4C-4C50-8EA2-F256F96CE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B96C404-377F-41FF-AA56-175EA24B4B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77D803C-60E8-4B53-A1AE-A84180B3FD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41CFF536-7C1B-474A-9B6A-2490F90ED4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983BF7CA-6FC8-4C05-B814-3401BCD664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69CD7B-6DFF-4C2D-A1FD-955E52E27E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270B-4C8D-8810-C9A74F23CFDD}"/>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70B-4C8D-8810-C9A74F23CF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53B97FE-6535-40DB-AF85-3149E01ABD9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CD1499DA-580F-4416-B543-6371C00DBA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1A41464D-03E4-4D14-9AA2-5C3BC8E38C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A900162A-08C1-4E16-8F72-2ED0B9DAFE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8573CB9B-5295-4182-AA78-68DAED6E59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734E022B-94B7-48C9-A54B-FC091BD22C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EC49181-5737-4C9A-A87F-2E443C567D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2AE638F-9A0C-403F-99F6-2780070427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C18E1907-F020-45EA-B4C2-2A9E0637B7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CC2CA956-7C92-42A7-9791-F30C9F62A9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A4D0D668-7E2D-4FAF-8B1A-559794FC62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4A09740-EA15-4916-A9B7-9831EE15D2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E23B61DB-509E-49D5-9FC1-914EE1B4C2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CA60CB1F-3CCA-4EF9-8BE6-A9360B38FD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65C49899-77DA-4F7E-BD73-6E902B9D91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0AC52528-EA85-4A77-8B35-457725F396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1A6A4681-2C33-42B6-B960-19B1193DEC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9ACEDE7B-6CA0-4311-9DB6-C3ECC4318A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3E69251-B29B-4AAE-A626-5F17F3646F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CE5339B-B1C3-45F5-B8E5-12CF441B32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20DB4D5F-FDBD-4D22-B868-988DFA0993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58D63CAF-BDAB-4897-B0C0-E3BA99494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0B78C356-F0C3-4565-B986-94F88B2C39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0B5B0CAA-913D-44AC-AB94-126EB31123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F7793495-7690-4495-BC5F-AD35BFF84BD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01C43D97-CA57-4602-861B-7F40037D93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EB5144F6-7331-42E6-9968-D9EC388CCF4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618F8953-AE0F-43FA-9E02-D5E0081859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4552892C-A999-426A-ABAC-DE256E0D1E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477AE52F-8725-4F97-ABB8-E3D76E8271B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85BEF723-B7DD-4D0C-BFB4-BF458FEA9B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47DC5BA-B68A-450E-B01D-FDEE5A80D3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F11C43BB-1A33-4FAE-9778-45FE80910D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53001A58-0359-49CE-9702-A49F261613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AD27EA-6189-4276-899E-7A5E1BEA7B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7BA86ABC-366C-49D1-9919-E690AFAF4D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21E12375-3FBF-4422-9DAC-B57E6E20B3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6FFB485D-502A-4308-BA9A-0CB17F38B2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4A7379EA-B9FD-42FE-BF4A-9B56A50473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6FA96740-CA6F-4AAD-AC55-FC1BC68B50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0BDB04C-6DE8-4484-BE49-424B0B1B2E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B64701D-A5E4-4BC4-ADBB-D227FD9E91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769659F6-1A13-45CA-95EB-E110BE6ED0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6E456DD-0651-49A1-9536-001D7770A6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416C6C4E-1301-4232-9929-526094A288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0196271A-636F-40C6-AC64-8406DB8DC8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1EEED36-13FC-43BF-B8E0-F143682587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1A1FAE61-34C7-4A24-8A21-BD2AC2CDFC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41A0DD38-B59C-4172-A25E-E36DA5F899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66DA43E8-F026-4F52-87E9-C5F82C72B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31768D5-2A25-4AC5-B0F8-068F71ACC9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33F3986B-281E-4E33-A362-FC2F4F7367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62A66D41-9F36-452E-A9AB-1511730B8C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9E4464C9-85A8-4087-A2A2-CC22C2C47B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738736A-E85E-4E4D-AE6B-6B23E7E833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E4930E9A-B5BB-4404-9104-1197AEC5D7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5B28CAB0-70FA-44AF-837C-A312505D60F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F5D95F1E-CAD8-4647-B2F1-0792C1F2FE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F53B3962-C338-4E08-8B88-60ED80CD85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5C1F853-7B89-447E-8AB7-F50065DD0E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4E50815-FACB-42B0-8547-A8D2684113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D461824C-9F4D-4C5F-B23D-55B65D8F2E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E865836-6C43-4339-9864-0E48C5A4C7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5B6E7CA1-43AE-4F6F-A2F8-C33DC521C3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18EE-4830-A074-CBECE3DE1A2E}"/>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8EE-4830-A074-CBECE3DE1A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723DEAB-A8A2-4540-BA2D-0395C7EAC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1CC653B-B26E-48F1-B1AF-A61E3046E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4B57B5D-E7DB-4E86-A1CE-26361B03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A0BB8DB-2431-4B26-98BD-2DE8F4555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7AB27AC-EEF3-423F-A524-8309D4EE2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203B9D5-080F-4023-B43A-1C31F1780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DB01FFF-D5EE-4918-B7C6-ACA8C9A44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0F95DCB-2D68-4037-93C1-A4E416ED8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8CC31790-0EC0-435D-BCA4-F79E22D20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CE48A05B-F4FD-49B6-92F1-ADDF68316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4B97C260-05ED-4C81-AC1F-7E7297CE9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0A73EFCB-0515-41F0-BD65-D115AA43F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ECABAD4-07A9-4804-B508-D33E54B82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79EA23A0-450C-4CB7-B41A-9F523128F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4795BD66-4915-4783-9F93-E7126E398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29211C13-B053-4594-BC53-62842C94B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8C89CB2A-EE63-4687-A64F-755A1BDF9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FC4CB31E-A612-4E99-A6C9-C3A788160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4DBC5B77-A4D7-405D-AFBB-8F8B69BBC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FFA861D-FB3E-4AFE-B6A0-5774E52E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58FB07D0-EE5C-4B9D-A44F-4D6B38CFF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32F2A593-D072-4A61-A9E7-CB0C7404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4899809C-4ACC-4A29-9D13-D80E5E9C3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4528BC13-D9AA-4287-B67E-5CA9BF553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7D0D834-A37B-48CC-AECB-C8F69B5DB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30661F24-43CF-42E7-A937-DAE4DDE67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DD3201E0-C77A-48CC-892D-8FE8A78B5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E6984D61-6E05-4382-B1A5-86B64CB39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EC8CDCC7-43B1-4C25-98BB-118043FE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8AA6E22A-5FD8-4973-A617-E8B7C0267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4700794A-52BF-445A-9AB8-256902348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AD22FD4D-0350-4F0B-B6DB-2FD04F35E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D4B647C-6E82-46A1-82B7-142013C60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10F7F17C-661B-4F10-BE5F-85F46816C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A5A8C69-3953-4D3F-BE77-D7C13E987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25EFEAA2-3155-4F6F-A5C1-1BE5193E9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5C9980B-3DC6-43EE-8627-761EDC7C6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AC7E2734-0D43-4B6F-9BE6-8AE3EA3C2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36D7A25B-D0D7-447B-A722-EE9FCE829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6583BAE-629A-4B49-A908-F023FA0EA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378927C6-051E-4576-8D58-03A7BA187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2F1069C3-7253-4B8B-8C21-C3766B4AB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2AD24B84-4B18-457E-9F4B-3ED263C0F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095F5210-2C44-4DB0-B783-E6F6D7DFA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9D86057A-8A15-461F-83F7-9F37F8566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BE4C7EA-2411-4117-BAC2-93E288F6C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68DFF3B7-6B3F-4384-A4DA-23C89953D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5E065E1F-FA24-469D-AD6A-FCFE1FF24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98AB6AE8-288B-47C3-AE58-5339F8B64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D32359CF-D52A-4B46-AF09-F8AD984BC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3FA87941-281A-4AAA-B88D-812C998DC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4B6196D5-D46F-4A6E-89C4-346225F3E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B0B05E18-99F9-4944-B279-120F215AD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4FBC7400-1FE9-439C-8A2C-58F842CCA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51BC59F5-058F-4AC5-8A26-403CFA339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428150D1-423C-4C14-842F-47F4E9D44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60814B31-72AE-4E78-AEDA-1B783E440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86ECE08F-53A2-4B6F-8A49-99E835EFC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1F6D2798-6E85-40CF-A0DD-60A741188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604C2D14-71A5-44CD-A9D8-92778FDC4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B8C6794E-0934-48E9-9789-495AC312A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7F89795C-BCC7-403A-B9B5-241AF724B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A95468AD-0E8C-4E1B-88E5-70274B23D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A52F4F7E-4FBF-4806-AB8A-82B4C64FC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B5A15943-16FE-4C48-8FF3-BA2EA9F60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1F18FCD3-DA2A-47A8-8C7D-026C59995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409D4C3-B0B2-4CBC-8E89-242CB724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E6E560C2-A384-452F-BB55-3CD9621FC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9584961A-3399-49E0-9A2D-B0A98992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56BFC22-8BBB-41F1-BDC3-C9B880147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8B79A2B4-F86C-4E73-A975-66B65D670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6B826884-8D74-4F54-87D9-D680238CD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51AF0314-4144-4E92-A857-6FDB04B2F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93EE85B-D2CD-4BF3-9A3B-6FB500960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431ECEED-71A8-437A-A365-0C19397A0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BB37690D-D583-42B6-81FB-1E02CC782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BDD38E97-0369-4382-A8D9-1F078D3A9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6438E081-9A32-4194-AD8F-481395B6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6009E7FB-641D-40F9-96C9-0397F135C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F21E9569-6EA6-4FE2-B1AD-F8704808B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3B38F27-5E07-4909-87FD-0DC84F20D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B23272AB-141B-4E05-807A-BBD355C7E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6853EFC-BEFC-4C4D-869B-308C815AE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30B7017-765E-4142-82C6-37408970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0E80CA5E-7B27-4441-BF3A-8F38C9CC7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F86DE407-E6B2-4CAF-BC4F-505649351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55E1F087-42AE-43D0-B6A0-21254E059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1A8D1366-20CD-424C-AD1C-28B72599F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3D6B7707-F5A7-4E58-BFD8-3F08AF4D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71BD57F-768F-4B35-9488-6843039C9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529EC61-E8EF-4BEA-9076-8848B55A8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1C3452E1-8FA7-4102-8A55-8D9C1C03F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C70A73F9-FABF-40BF-819D-DBF4A16E0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1BC813BD-2EF9-4AF1-A994-04616FD05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8D902429-0DA6-4D6E-9175-68A24F27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B641BD7C-D279-473F-85C5-D80E86B7E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68A8E35E-7792-49B3-B643-EE7354237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6D33BD9-8457-43F3-BCBE-3B5BB8EF6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71790A63-13D3-44E5-A60D-DAD5DEE3C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00EB1EB-F9F2-4370-ADE1-DE3E524C7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3068FD31-8495-4CDC-88F6-26BF799E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B0510D1-87DB-417B-9DEE-ABB66E8F7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F9CF5ABB-AAA1-4777-9141-39FDA43EF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81C8E7E2-74D9-491D-A02C-589C771B4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2B989CFA-B8E7-458D-8E50-30BBD8C06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DBC2695B-8DD2-4BCB-B07F-A5FDDE70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73F5AA8-2048-4DF0-81F4-FB9478C8D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377B70F7-695E-4A9C-A0BB-204E282C5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2E210D3B-D09A-44DA-B2A1-3F0CBD7C9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61EE004B-81A8-4202-B877-00E9B5DCD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97B5A9E4-B481-4ACC-B7C5-E071AD774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0D106F54-8D17-4DFB-BD82-51104D124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D4FD0B84-2F90-45A9-B5C3-3733FBB0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73B9E6E-6E55-45A3-8A81-A7172ED6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E399E60B-A0F3-4BB7-9C7C-D834512D9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564E1178-F60F-40FE-A585-3BE0B8DE5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E2B40292-524D-4E43-83ED-43F9143C81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AA81A956-5AAF-4682-BEB9-C6BC608F23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DB4E03-5E38-4185-B76C-A7A6291E2E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E94AD2D8-500D-4D55-B62B-F3BAC7AF7B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37C9245-11BF-4CBE-B2F2-80E93ECEA9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3D342F2F-4DF1-48A9-AE63-AD9E8CC833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5EDEBD7-E37C-4772-A978-53C8E25A19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6804FE3-33AF-4D47-8B9A-0344FD8E29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D1C9E188-EC39-49F3-B8B2-D00EC16171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3B00BFE-C829-42B9-AE5A-0DB3C5B5E1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6004E8C5-E9F5-4E4C-BDF2-12A2E7069A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DB779AA-1E87-4EE6-8CFE-493BF1D245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36DBF32A-A975-47A7-9D9D-9BBE978305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B3ECE14-8D76-4940-BF52-A94712BC91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4395C69E-85F8-4658-9E00-4E297F0032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E797E5B4-BBE3-408B-840B-D4A3DDD37A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4DEE898E-4EF1-4085-A29F-8C346C0E25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CC7F47F1-CD79-4EC6-8D99-69717F863E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02D8330-B8FF-4566-A0F0-2B75CC8363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9EE02E-6514-4FC5-8DB8-9F2C5DD3D77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721C72D7-5CC0-43FB-9EEE-9BC7389DA5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E21ABC0D-ABB0-41C7-AE20-FF3ABEA8BC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32B4EA1E-EA43-4D88-BF60-9D5D7D1495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BFF4BE19-61A6-4B08-B646-EFECC46825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69D82582-01CC-473A-82FA-9AEED958DF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FFFA4084-B6AD-4097-A0C6-973D8D819C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C9E58AE0-4F13-4B57-96A3-A3B75DB84F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61C8B9D5-EB62-412E-A1FE-A4416D7DA8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A1452C7D-307C-4A9D-90B8-04691DE54D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E752CA3A-342D-44FD-9108-BE6B189AE7E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24E774F-6652-4EBF-8DA2-CC0CF54CF0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68AEA98-52C6-4FC5-A487-AE42F302EB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0">
                  <c:v>1</c:v>
                </c:pt>
                <c:pt idx="11">
                  <c:v>1</c:v>
                </c:pt>
                <c:pt idx="12">
                  <c:v>1</c:v>
                </c:pt>
                <c:pt idx="13">
                  <c:v>1</c:v>
                </c:pt>
                <c:pt idx="14">
                  <c:v>1</c:v>
                </c:pt>
                <c:pt idx="15">
                  <c:v>1</c:v>
                </c:pt>
                <c:pt idx="16">
                  <c:v>1</c:v>
                </c:pt>
                <c:pt idx="17">
                  <c:v>1</c:v>
                </c:pt>
                <c:pt idx="22">
                  <c:v>1</c:v>
                </c:pt>
                <c:pt idx="23">
                  <c:v>1</c:v>
                </c:pt>
                <c:pt idx="24">
                  <c:v>1</c:v>
                </c:pt>
                <c:pt idx="26">
                  <c:v>1</c:v>
                </c:pt>
                <c:pt idx="27">
                  <c:v>1</c:v>
                </c:pt>
                <c:pt idx="29">
                  <c:v>1</c:v>
                </c:pt>
                <c:pt idx="31">
                  <c:v>1</c:v>
                </c:pt>
                <c:pt idx="32">
                  <c:v>1</c:v>
                </c:pt>
                <c:pt idx="37">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0C84CE1B-A03C-4D16-A682-55006CE728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B93AD796-7204-45F0-9E1F-B8C7ADE84A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640FA18-883D-4095-8160-A2AAC3423A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B9E53398-D69F-4704-B82B-E6A87F8342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D63C2CC5-FF0C-4B27-B2A3-FDD781810F0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5B5EF6CD-7B0F-4D69-917C-4447C42526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8E90BE5-2FEF-4814-8992-5EDDD7BA45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B8F8315F-07B8-486F-9FD7-5D157BDAB2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6D470B31-C9B6-45DF-88AB-E4210212B7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5E6C626F-1B33-47EF-B683-01483BE2FB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4AE51FFA-3805-4CF7-AFE4-B9F15A2D40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825DCD0-F6E7-4CA7-926E-59C2C90D56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C49A0F9-922C-43E6-982F-B53B786E17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C47651E7-494D-4F78-A48D-3B2F2A176B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A48724D1-5BEB-458D-A379-355FA34742F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3B10DC22-50DA-4911-AD12-0D8DDC72FC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63C8EAF9-B0F5-4705-8446-6176909783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99C94965-61DE-4D3B-BA56-4216DEE25D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5C23690-DA64-4FD8-BF88-610C1180BD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32A5CA77-9362-450F-96AE-68F87E14FD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A541B4EE-166F-4F9E-9B73-BA0B915757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70E3F244-6848-4187-ADEA-52C56E27A3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7651F59-605C-4419-9675-C6857A09E9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99B08A3D-CD3B-4419-800A-DF5529E24F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0D86207D-E24C-4743-A9DD-C6F1C4638F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633E6743-3E8B-4349-87B1-E108A01A0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44D758A9-7F94-4937-9288-D245858D32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84864AE-0B45-4E93-A5D4-B7387DD72F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D4CE8CDC-9985-48C3-833D-1B6476646F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95AA4A8B-617B-42AC-A89B-79748F4E8A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84853B61-813B-4686-8F5D-095416F4B6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3D0117F-DC19-4E04-9E39-B8C87D584E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13A2-49C4-8A11-7AE200CAAB4F}"/>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3A2-49C4-8A11-7AE200CAA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4D702056-9111-474F-A28A-E2FF76A376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D014631A-B105-49B5-B293-0883FE77B0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794A02D5-159E-4DBD-8ED9-9877A597886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E057102-60F4-4986-9E7F-E20E79A53F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FBE84729-BC35-4C22-8D55-204412C5D0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5849C43B-F12A-4F72-9220-566204BB10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642C0B8-084E-4D78-AE79-2079504F93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768E776-D1F4-454A-A10C-FEFEB6C9BCE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05F288C-F0DF-4B56-AC73-BC45AA8E5D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DBB62349-5F33-4F86-BFF2-836131E64E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D5E7B3E6-082D-4DC1-8914-0A79E450FC9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1526C61-E65E-46E7-99B2-43C2BAAA0B0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8C04C288-335E-4FF4-BD9D-DCCD46CB715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E5BD668C-A4C2-49D5-ABDC-76F8DCE644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4152B714-038B-4485-9A39-69442F1434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7D624469-03C2-4CC3-BFDC-80FAB3660E1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1DA75F4F-41BB-4A21-B138-48C4C6A320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D39A206E-CEE0-4D99-82AC-4B4CC006CA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8E7ADE4-6B36-4C8B-A3B3-7141EA8A04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6AA10C2B-83CE-4B3A-9D99-D129222C30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C49754FC-C1EB-4110-BDB9-67392BD328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A1B8B49-DFB6-4863-8526-5B109F24B0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541D6D4-E0D1-49FB-959F-416F85662F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46878DF1-D9FC-487D-B8EB-98E371599A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C7B8902-9040-4A0F-82C6-CB3A75D7A8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2A032098-D51B-4FD5-AEA6-9FD89A7CA2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ED4191E8-DA51-4C11-B057-413A42C6D9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298EEDC-07C9-4828-888B-AC84AFD300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E28A85B1-5993-4982-9489-CD946A4110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DA68E432-7931-4BE3-B399-BC6507F0C2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ADBBC30-B495-47DA-8DC2-3F5D5CDEBD5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EE808B39-F6D4-4FD5-ADA7-9A18D81185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4D64-44FD-BF93-D0B02E55B84C}"/>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D64-44FD-BF93-D0B02E55B8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C37CBFB-7B6E-4937-97FB-C94283A75E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392DB60-8F11-4DBB-83AD-6358543AD1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58C0CEC9-4360-4EC9-9575-4341407265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2C65056D-1D24-48B6-A041-586CB7C4D1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B4C5AAC9-FB4C-4C17-AE07-7C60ED18F0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2BAEAB25-622E-4041-BA88-3A93C5A67CE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48223FD-6C77-4FFD-A16E-F61377BDE4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9651F2F-038D-4556-89B7-32C81CBFB2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790FC07-81EC-49BB-9154-F520B5F5D2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01D6CDEE-3119-49B5-AF82-5BE4229653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B71F18E-60A2-40AA-9DC8-684BA1A95F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95A2373D-07ED-43D2-8A77-592555F002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F623E5A8-4CFA-47FA-83A8-19DDF808E6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32696B60-088D-4B4B-9D1B-1A04E5972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E6CFB13-4D5E-426E-AD98-AE14E57371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D73CEBB8-7175-4B4E-84F7-975F2DF3A4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3AE43E4E-DA55-49B6-9AEF-3D3023602C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81CE1B8-050E-4C76-8394-D190EC358C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6083EE7-94E2-41A3-A4CE-F55C721237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3B127757-FDC6-4CCE-8575-2EA855F6C70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CAF434D1-582D-4981-B528-7118E8E28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FA139A8E-D97C-4026-A585-E21B04A5A8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DFDD459-30F1-495F-9441-5AA90C7FD0B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B5F1A535-6D93-49A9-A033-B529902476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33ECF1D-E0FD-443F-9618-C6C904D482A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DCC2495E-AA3F-4526-8D8F-52D4691E36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0F992F5D-A3CE-49FB-9AE2-D13F8BDCC94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BB2BA426-1937-4978-A3B1-F6218A4FD5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A3FC719C-6B9A-4BEE-BDBC-6980D475B4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E973BE5F-70D0-4787-87D4-623DD743AD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A530CF5C-8F6B-436F-A968-61DD900A34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B4C0C4DA-720F-4E21-A5A2-E97DF54949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
                  <c:v>1</c:v>
                </c:pt>
                <c:pt idx="6">
                  <c:v>1</c:v>
                </c:pt>
                <c:pt idx="7">
                  <c:v>1</c:v>
                </c:pt>
                <c:pt idx="10">
                  <c:v>1</c:v>
                </c:pt>
                <c:pt idx="11">
                  <c:v>1</c:v>
                </c:pt>
                <c:pt idx="12">
                  <c:v>1</c:v>
                </c:pt>
                <c:pt idx="13">
                  <c:v>1</c:v>
                </c:pt>
                <c:pt idx="14">
                  <c:v>1</c:v>
                </c:pt>
                <c:pt idx="15">
                  <c:v>1</c:v>
                </c:pt>
                <c:pt idx="16">
                  <c:v>1</c:v>
                </c:pt>
                <c:pt idx="17">
                  <c:v>1</c:v>
                </c:pt>
                <c:pt idx="18">
                  <c:v>1</c:v>
                </c:pt>
                <c:pt idx="25">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A0C74ED-9CEC-46B9-B7C6-B0FA76D1D1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16830A79-57F0-4A32-951F-2362667602E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994EE5B1-043F-4F45-B4CD-C6FF2B66E1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8E80E7A-F5DA-4A7A-9583-EBD6151AD4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CCD7F436-BB7E-4390-BD63-6BDCD6D58E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613A0EF6-77FA-4282-B9C7-5B511194ED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84DFA631-C2E9-4586-B287-5F9D7018023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417E3850-D097-4696-A224-B929599E71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38A301E-F559-4EF1-B70F-9B86576A60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AC742827-4683-4107-8B22-9A25891ED0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CD33B098-CA85-4A4F-BCD0-42418929A4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2BFCBB81-6DE7-43AD-A7E0-8093629C79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AA0F245C-8410-415E-9A38-990AA99BE79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876A0ADC-D5E1-4269-8A65-D8A80D6C91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55C9029B-6808-4521-AE1F-9E38C28A56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CE4D9C20-EF8D-48E0-A92B-50E0587F35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07E5DE36-9874-498D-93AC-B101474FA0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31031D45-0851-40C4-870B-1A3455C22F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FD204DC-74E3-4ACE-B786-2F6AEF1327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1DDF3EC6-BDE5-4FEA-9709-DE0771C6F5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8E36D1BF-894E-4A75-88E0-3F87D2C2992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4CCFA644-BD30-4997-BF4B-AFD751ED13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EC87BBF0-1E0E-4427-883D-28FF3E035C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A193E615-67DC-41CA-8CCE-4D2D9CF132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790A6089-4FA8-4AF8-BFB6-D0358B5FB9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3E597E02-24F4-422D-99AD-1376357D2A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59452247-11FD-41B2-8ADC-968F993AB4F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40F9A98A-CA78-4E5D-9240-106BABE37A7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5E42244D-DCDC-4CFB-9691-C6437F4D12C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4FF9560B-CC17-4ACD-AF89-D2C5348F71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3924FC9B-8D9E-4EC3-AA1C-DC4FF70AD1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A322731-7E19-489F-928C-ED4F81B7D8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887419483554693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EDBADF5A-48B0-426F-A417-74BEB768410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F353E78-45B3-4233-9533-EB041800E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48ADE6C9-EA14-4C78-86C8-9A442AD193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E0604C10-1599-46AB-87AB-EC00974FF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2599C73-7CA4-4813-9027-0F9F8281A4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9E9D2319-470A-492F-B81F-D9BA71D765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D525AA71-F64F-41C0-BBF0-88C564960C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8A442DAA-C412-4338-852C-EAFFEC9AE4A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AEBDE27F-0938-4681-981D-308A7714FE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59077BDA-BB0C-412D-8555-27B71E1F295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DCFF2F37-3F60-472F-AEA7-77075BEA3B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35FBD41-82FD-4CDE-B928-0E59C7E1A6C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A23FF41C-C433-4161-9EF7-86ACA81891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FF89A555-7330-44E9-BF16-DEE6F5D1A5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71F67CF1-2E31-49C3-8574-9BEE3B0784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32916C46-0C50-4405-8E66-BF39CF0E2B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0ECCDC72-4B37-4DBA-9F1A-FE65C5BCFF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B0A547DB-B769-4D59-BE99-E30B0970BE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9E201448-6918-4592-AD44-C8116370D3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87200831-4B58-4E51-9B6A-C0CAE5A24B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7D91C930-047B-45A5-84BA-9B26232250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60FEC8D-5E94-4053-9000-939FC6899D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9CACC587-A1AA-443F-9555-45CAC68E92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6BA012FE-942B-456E-970E-4DCCF536BA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90423077-FD2E-4D2B-BED8-4FA227DEE5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3E3D48D6-6661-4B53-82D6-246A84E484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2136549A-FF37-420A-8E5F-84FABBFC6E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518DA147-21DD-4522-918B-3C2896DD26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93615E93-3B74-4E75-AB38-AD785388A7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8B6A91A0-8207-4A3D-A9A6-A7417DBC73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2C90AFB-BBC6-4E21-A4FD-AB0E71E44E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ECFE3DD4-1904-4324-BE0A-EE1DB287145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A6FBF75-92B6-4706-BF6B-B4C8E82BF6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6D2DA114-7AFF-498E-9D59-770A7BE416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CDF0B7A0-52E5-4B36-AF0C-EEEF0719D5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47C8424-B8EA-4B8C-8918-6A2D7E68BA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947059A-4347-4B14-8426-2CA697161B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8B07D894-48B7-4936-980B-0367F94C2F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136AB35-088B-4BB7-8FA4-3DD382C5D8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4D6D7EB-7A23-4B16-A372-0221432833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B0EE6A89-035F-442D-99C6-6C08560C89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ECD6A349-B8A4-465B-9344-022DE6901D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457C4DF-6CCF-4A2C-BC94-0D297A3785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F2E6AA5-5A06-4D18-A1FB-9026D122E3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4AD1F15E-A97A-4DFC-B709-7B74FA880F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9A734AFE-439B-4FC4-BAEF-93ABCDA613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04A1EB1C-10E0-4AE5-A3FD-4B543045C2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C672F9EA-535E-47A3-BDFB-E6FADD4B77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49875FAB-5B3F-4C0F-99EB-C25572EAFF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4411DCDE-BF9A-4428-B84E-90FF935A4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58AE5D59-8ED3-4831-AA23-5E6E49C2589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B17E0F37-4BC3-4D94-9E22-2F43596FED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4563D0BE-2984-48A7-8716-168A311995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AE0AEEB3-1F3B-4DE8-9632-F960343330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2309F4F1-C89D-4CB4-9405-B84FC9E142E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C534CF84-CB4C-42ED-A3CD-4F6657951B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7F3DB586-27F3-4E2F-9D55-86796036C9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62B58B5E-1F7F-4076-AF14-D5765C242E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3C5EA770-EB9A-43D9-A1C1-3F7DB74404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3B93F1DA-2A92-4811-B72C-9D0D4B13CE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3E121144-6F0C-4F78-9916-3F016307939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02CE7D48-B2BC-449B-8E0F-DB149D4DDD1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927C5762-44BD-40D7-92E3-A8BD4F1FAB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2E076298-CEBC-47D5-9428-C52F14CFBE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932268643946962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DA1E522-787F-43C6-8B24-9C79E4167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9AE8A77-ACFD-42DE-A618-9124692C7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4A9E7CD-EA73-4897-B88F-BD3557612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66B2E3E7-6B16-4748-BC42-492E2EB9F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B85EA37-CC10-4A43-9429-8515DE2E6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8E9735B4-3C4B-442E-8543-68831EF71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29019C4-247A-4EAC-AD61-AFA6D58BA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7FFDFBF-3E14-4BB0-BB20-F002E810F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E5E5ED61-811A-483A-A8DC-C974E48F9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EBFC4709-2A54-4F61-B7DA-D0A64F27D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408E97B9-9DCF-4DC4-B8D3-977E5782F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CF1555A0-DBBB-4F58-B412-71742B28C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5798AD29-01C1-4E0C-8DD1-AA96D276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191FF923-9434-4F9C-8F18-C6EFE16C6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737CDC7E-38B8-4754-895E-552A74BCC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D3CCA04B-45EE-48A7-940B-9AA8A34C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598F6865-DDDC-4CEA-8D3A-0F8736873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65E4A6E5-6284-484C-A0CE-88C01432F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879BF58C-EE1E-45A5-843D-B8F59A25B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86B2009D-12F9-4147-91D7-FF8740B9B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81C2556C-3313-4DBF-9361-BD01BC232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8BC18ED-124E-4A45-8729-62AFBFCB4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4D751BB2-EDD6-44DE-BE0E-4731ADF4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196A1594-A35D-47B5-BA2E-4B71D669F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0C61B278-E0D3-486F-927F-BD4AEC1A3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BD87C5FD-4DE6-4F48-8491-2CAB780AC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94EA9761-7327-497C-A2BD-428AB2C27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B0AC7BD-A1E3-468D-AFD1-DA07A8E17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A3F2F217-C328-4B85-B524-42CE64099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6DA5856C-28E6-4DBA-B379-03B323359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CE5629B0-5A49-4B76-8583-137386A3C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9A6E9A3C-25CE-4EA5-8F1D-DF482E89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00CA71CE-D42E-4A24-B6F6-DB7E14B47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59CF3D52-989B-4840-AA3F-F484E2FEF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6CFF70F-6E8B-421C-A346-D329F154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E014E461-586C-4A4A-86C8-384142CA7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1B1EF875-33DF-425B-9FE3-82067C1BC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12196CB2-0150-422E-B734-3F91EE949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A64B105B-DE98-436E-8D62-02AE101BC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9BB8824C-CD37-4B1C-89C0-DE60285FB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6D9D663F-A82B-42E5-9B98-A6AAFB546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D5D419B4-E457-471A-BA37-8ECE7EB99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B3F48CC3-2F94-4F95-9E27-CE88E01F1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916CD967-435E-4560-9C17-201A7877E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06A56736-960E-4C2C-B4DE-9834F7FA9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64E461C2-6516-4132-A9C7-4108DAADB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CF115864-6EFA-4DC0-B857-975A25424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369FA5A-9363-46B4-9020-D7E95BE91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BE3CFBDE-398A-49FA-A713-4AC6D35C4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06024723-110A-42A6-ACA1-A65EEF81A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282C24AA-0399-4A94-A6A3-2181C9C16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1644CAA5-B631-4461-9859-7299519EE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F549B1F0-6E64-416A-AA5A-29492DE04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DAD48905-A45C-4351-B215-2C8F98539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3A7B5929-4B46-4FF5-B0A2-DF4B11CC2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01042762-AC9E-4764-A4B4-45E2951DC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DD6AFB26-F0F6-4196-AC8A-3AF527B6C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EBF4F0DA-BC07-44A2-BCC6-0CBD3CBB3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4FE968A5-F93C-4D27-BE8F-65EE3EF61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29A4C860-6143-4F6C-84DD-E8BEB5A89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21A9095A-6605-475C-8CBF-103DD610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03DA982-06EF-400E-B4E2-4E6EB077F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6369D784-76B2-4A15-8F0A-2A16F631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5495A938-65B6-4D9B-9646-A00B371A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44D203BD-4A85-4610-B680-9B8CBB1D4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C8B128C9-C918-4F58-AD28-533191799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75003477-F9F7-4485-A5D3-1F6C974D3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A3C00BC5-69B9-427E-99FE-C82476423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C0640B7A-33D0-44E3-B36C-3DEBFDBB5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116F930-42DC-4584-964C-F94CD9422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48CB2CD1-43E2-4461-8650-5586761A1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B0CC9552-83E7-4586-A57E-7C72DEF8C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7214BD5A-E304-46BA-8D9B-49773D85A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04CE421-97A8-4C4A-85BD-D80CBA327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61A8523B-7895-4D12-A2F4-A05A2FA01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A1813E14-F28B-4FFB-A649-9DA8E6389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12BFD5C1-9155-463C-86EC-5C170BBBC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35F091ED-3697-4FA8-B449-F9619C8B8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2F4EA906-D43B-4B78-B7DF-9D402983D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78C6A86-119C-4E16-9325-C98B42245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5E16EF89-8FF9-43C2-BB97-19DC9EF0C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9F441141-1C66-4404-973C-7779BFB3C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C514046-F326-4CF7-9D3F-33351EB90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F19CE142-B0B4-4455-8299-2E42EF3C7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2698B4A1-65DA-4A12-9533-E6C4F2372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73DCAF66-BBD5-4D29-B4DC-893B5F057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256282E-A20D-4D16-B978-0DE40425D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CDBA6654-A279-44A1-A39E-9801F9E08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FCD8C586-65C0-4199-ACBE-E808F99A2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8E8C9F09-152F-4AB3-944E-B0927E3E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BB1A84C9-B955-4525-BDEE-5C70E3D8A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448A1FB5-AC9B-44D3-96D9-CF523A05A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9BBA0FD5-90D6-49EC-AB9D-0E3D763F1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09C26C17-06D8-435A-A7C5-B08346B4E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E9147A62-9614-45F7-AEAC-69D1AD916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81903BD0-F18C-4FEF-8454-8E21BBFF4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BB78F2D-E14D-4C29-8527-C0FD78DBF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51CAFD72-B97F-4357-B0ED-37E5D9386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58E378B1-2A32-47EC-8FC7-AAA75F071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4D61CD18-AFF8-4207-9035-C160FFFA9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BEADDC04-22E9-4B3B-B271-0BD317EE5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17DD8722-6DA6-4CFA-A1E4-C2721E58D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39C27D74-283D-4D63-BE1A-FF412B766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C88636C9-5B45-4077-B57F-F3B051541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1415D3BF-2DBC-412B-B9AA-2BC8F1629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8E5AF718-97C4-4F81-A3AD-F1BB1D816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58D4163-E16D-4B91-8EFC-47992868C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89B73AD0-C713-46C3-9F60-56205504D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8D75BAA-51E7-458F-A96C-C00EFC57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C623FF36-23DE-47EE-BA1A-476714629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1ADCDFE7-1311-4153-A6A6-A9E2C815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A1A3DF1-1DB8-4FED-BA79-FC7662398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7F62A6F5-C637-46A4-8E4F-71F043BE6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46A8367-5E74-4FD5-A273-9882304AB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CB2FF32E-E886-424C-BF0A-23EE9E0DD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4BBEB92F-2E8D-48C2-BBC9-6DD782502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515E-2</c:v>
                </c:pt>
                <c:pt idx="1">
                  <c:v>-1.7983837495581301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0</c:v>
                </c:pt>
                <c:pt idx="1">
                  <c:v>-0.42900000000000005</c:v>
                </c:pt>
                <c:pt idx="2">
                  <c:v>0.125</c:v>
                </c:pt>
                <c:pt idx="3">
                  <c:v>0.55600000000000005</c:v>
                </c:pt>
                <c:pt idx="4">
                  <c:v>5</c:v>
                </c:pt>
                <c:pt idx="5">
                  <c:v>6.5</c:v>
                </c:pt>
                <c:pt idx="6">
                  <c:v>-0.8</c:v>
                </c:pt>
                <c:pt idx="7">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1.1233410174915606</c:v>
                </c:pt>
                <c:pt idx="1">
                  <c:v>20.833702869625981</c:v>
                </c:pt>
                <c:pt idx="2">
                  <c:v>2.0855384269140949</c:v>
                </c:pt>
                <c:pt idx="3">
                  <c:v>-0.7943759315237866</c:v>
                </c:pt>
                <c:pt idx="4">
                  <c:v>-0.96615568323059575</c:v>
                </c:pt>
                <c:pt idx="5">
                  <c:v>-1</c:v>
                </c:pt>
                <c:pt idx="6">
                  <c:v>-1</c:v>
                </c:pt>
                <c:pt idx="7">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extLst>
              <c:ext xmlns:c16="http://schemas.microsoft.com/office/drawing/2014/chart" uri="{C3380CC4-5D6E-409C-BE32-E72D297353CC}">
                <c16:uniqueId val="{0000000D-9B05-4EC0-B6C5-883B60DE7730}"/>
              </c:ext>
            </c:extLst>
          </c:dPt>
          <c:dPt>
            <c:idx val="7"/>
            <c:invertIfNegative val="0"/>
            <c:bubble3D val="0"/>
            <c:spPr>
              <a:solidFill>
                <a:srgbClr val="FF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1</c:v>
                </c:pt>
                <c:pt idx="1">
                  <c:v>0.42900000000000005</c:v>
                </c:pt>
                <c:pt idx="2">
                  <c:v>8.6999999999999966E-2</c:v>
                </c:pt>
                <c:pt idx="3">
                  <c:v>0.55600000000000005</c:v>
                </c:pt>
                <c:pt idx="4">
                  <c:v>6.5</c:v>
                </c:pt>
                <c:pt idx="5">
                  <c:v>-0.66700000000000004</c:v>
                </c:pt>
                <c:pt idx="6">
                  <c:v>0.66700000000000004</c:v>
                </c:pt>
                <c:pt idx="7">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spPr>
              <a:solidFill>
                <a:srgbClr val="FF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4.0613590510432109</c:v>
                </c:pt>
                <c:pt idx="1">
                  <c:v>6.7177420213372665</c:v>
                </c:pt>
                <c:pt idx="2">
                  <c:v>1.0934879901515977</c:v>
                </c:pt>
                <c:pt idx="3">
                  <c:v>-0.7943759315237866</c:v>
                </c:pt>
                <c:pt idx="4">
                  <c:v>-1</c:v>
                </c:pt>
                <c:pt idx="5">
                  <c:v>-1</c:v>
                </c:pt>
                <c:pt idx="6">
                  <c:v>-0.85228162847384115</c:v>
                </c:pt>
                <c:pt idx="7">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95F45A11-E14B-44DB-A522-D0F4BF812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9FA5EE3-487E-43D0-978F-17106817E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A9B53FC6-D60A-4ABA-A38D-C5540795F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CFBED5E-82E8-49A2-AC3D-CF5929185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E01BD419-BF81-47D8-B55B-520F8F92E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F68D6820-592C-4BB0-8708-BBACA7DE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D185909E-4FC4-474F-8457-D013144E9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311A334-F750-465A-A1DC-BC28C8B87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88AB50C-6DC5-41AF-BE73-1A4FC2CC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0A8DD624-255D-4F3B-8047-A19AC01A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16AC9C8A-B684-46F8-A870-4341333E5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3F279619-BA3E-4874-A415-43784A27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F2297B84-5988-44E2-BA49-835CB3297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1ECB023E-DD03-4B12-98F8-E9C05A560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7EC1019-750C-481D-ACE8-F7D089DB7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729C043-3C97-4C69-A683-246C4F226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A87AEE09-34ED-4488-A84A-32A8A98AF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B686B963-1AAF-42D4-AE47-70958E3EA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DE41C4BA-38BA-4189-9C07-2608F4CF2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C30D9962-CE22-4D9A-BC5D-1FA5FF0B8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F5045BFC-558D-4F40-87F2-AAAE7BB2E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325B66F9-0BBE-4877-9398-6FFE629F8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8DD39FD6-BD17-467D-BE5A-C1652BBA6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9374B09D-B90A-4A70-AA19-F0B7C90C6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DDEDA829-BC71-41A9-B7B7-7FD1B20EF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36E8FF3B-4802-4EA6-AC0B-DFFFB87A2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BB025DEB-D344-4F0F-94E0-1FF2B2CB9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97D7E25-6D09-4FCD-89B5-24E6F8A51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D3D4511D-0FFA-4EAF-972E-F139113ED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2D40EC02-8590-442D-8413-8BAC8AFC3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01BFA11A-0098-4839-BF43-4F07C04B3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55391018-7925-476C-A7AF-2AD96B94D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CC2D250-4992-4265-96B1-4FEEBA4FD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6823AAF1-39B7-490C-9181-5BAE4115D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4479B32A-EAB1-4B52-9325-82C3A628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FD7656E1-29CE-4386-8706-EA3FB1AE4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63CF5D9-C310-4D6F-ABB2-6BC031CB1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21A7D9F5-770A-4AE5-B203-E50CD5BCB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E4CD867D-D79A-4E2F-893F-64C158D02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1926DC6-923C-4247-9143-AED358523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3E4AC5B6-08C7-4251-AFA8-8D3370451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02987C74-77A2-4C28-B289-714450D5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5BCCECAC-9FDB-41D5-949D-C9E22B552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8D69F42-9DAC-4195-94B3-62A42B146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593D3EF2-6AC9-4B45-A2D2-E37470C3D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DD47F5A-AF61-4C56-84C8-A855F6AFA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7815F49B-DC1B-4B59-95EA-A3296ACF5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461451E6-7373-4AF1-B9A7-EC1B0C148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9B398BC-C711-44DD-8DA5-CB32C8077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AE6479CA-0027-4E4A-AF7B-9613657E1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79A47478-8C86-49E7-978D-37B99DFB5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70FB06F6-9C41-4A25-8D60-55C281F25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36DCE0FF-36C4-4DBB-B1BE-FDD01959A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271F35CD-13EC-4282-AFCE-A0B60C3D7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509DD9E1-ECD9-4464-9495-0442B2461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76CE0EE7-58F5-4934-9ACB-33658B0E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D9A0E446-30FE-4F6D-A9B6-2C0035F41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733BCFA2-2FE0-4885-9FA1-EFF3C9747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A878EF9B-F788-4757-94BB-A58AB9956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1AF59A0F-872F-4125-8553-D714F5497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819E1C2-6ACD-4F7E-A2A8-C17756214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B7B94320-569B-43B7-9FBE-860F595BC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7D16F24F-0C99-43F1-BE40-1679929E5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93CFC334-DFE7-4F8F-A276-25EE44FDF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3F9C8DED-F271-4D39-97EB-5E8AD2A72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F2A8D734-9F1F-4F85-B20F-C4A7E494C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51B0119E-8E26-4F54-8B6E-88BAB67B5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DFF00302-2558-466C-97E4-2DDDD1F56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25B3BA57-5912-4B90-B72D-C76AB38E3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85D4569-6E38-4408-AA3E-A8A3C9ECF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A43A219D-66A7-47EB-80C3-489545EAF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F6A9A00F-F536-43DA-9CA3-6EFA5578F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BDF217E8-3821-41D1-AFC4-0174101F6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8B7F7C4-2DCA-4595-BF32-77F9F6F4A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D2FC9E64-60E6-4213-BBE1-246A2EF6C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B3D81A0A-3C5B-44A4-92B2-C6B315359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D14F1EA4-6343-49C0-B2A0-AB893845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FD84FE01-BE1C-4F93-A0F6-F3DB0751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7D9FBA48-8F86-4844-AB8A-680F5C78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F459E762-72EC-426C-A45D-CF2293FE3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3AB4E506-681F-4198-94EC-415259E6F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0D3004A3-84D2-45B8-BA27-BAD930918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CB333A97-B56E-48F5-AE2E-414889503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2539D317-3521-4F7F-B0E7-A9621F147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BF2E74FC-C2E1-446E-9B07-5ECB89E2D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162B7E4F-2DDA-4D7B-B554-05BEFDDD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6EB8B72A-7317-4407-937D-A1B24C538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F3C2C28F-4FDD-4713-8416-41FD93DA6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6065364C-D793-47F6-9C6A-B76D3D126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64ACA74-F146-43A3-B790-09FD4E7A6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C7BBBF17-E27F-495B-BD9C-705AA9D72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9356AA66-B12D-4C9B-8D26-08215F794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BE64C098-8A4D-465E-BBB4-6FDF6D366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40A64862-2088-4685-BDE2-0F8733B6C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99B8B28E-C1B4-4709-B655-9466F969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00EA8965-F5F9-4DB9-B0FF-6558E1488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841AA3E1-CD08-4551-8A43-7A0FAA52E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A303D111-1D3A-40FE-9A89-9B3816B30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BC26540-BDD3-4A8A-8D31-B635FDDB9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369BC22D-459C-4BD1-876E-8D0590665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76C47951-64A1-43E8-9B99-A7F85304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E281DC8A-D840-4492-819E-D5E5CE18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962D6B65-15BD-40E8-AAAD-18465AE7A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990B0BC-E601-437C-BCEC-7D21E1320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6BB12525-179E-4D99-9947-54B7D2314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6A3CC48-8F45-422A-8E45-854B26521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F2ABF71-11FF-4F78-BB02-89DDD0B3F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3CF38493-99B8-4350-BBBE-D27A1A660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C646521A-F862-4619-B709-76A75002C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A5C14AB8-3FA4-4AC4-A898-F2B4D40D6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C2DD2502-9656-4A4D-B012-35346511D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0B6D1E6F-6650-43C2-A3AD-ED2AA77B2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113E918D-AFD7-46E5-8FDF-3D9B3DCC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1C44DD24-CF0A-4B93-ABDA-D53FE7DE1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1CEFA03-132E-4726-AB88-B767E56A2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0275CED-48C1-44E4-96EF-137737964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4.4656760499171042E-2</c:v>
                </c:pt>
                <c:pt idx="5">
                  <c:v>0</c:v>
                </c:pt>
                <c:pt idx="6">
                  <c:v>0.47459336693573279</c:v>
                </c:pt>
                <c:pt idx="7">
                  <c:v>0</c:v>
                </c:pt>
              </c:numCache>
            </c:numRef>
          </c:yVal>
          <c:bubbleSize>
            <c:numRef>
              <c:f>Sheet1!$C$2:$C$9</c:f>
              <c:numCache>
                <c:formatCode>General</c:formatCode>
                <c:ptCount val="8"/>
                <c:pt idx="0">
                  <c:v>8411779</c:v>
                </c:pt>
                <c:pt idx="1">
                  <c:v>892564</c:v>
                </c:pt>
                <c:pt idx="2">
                  <c:v>6219905</c:v>
                </c:pt>
                <c:pt idx="3">
                  <c:v>151938</c:v>
                </c:pt>
                <c:pt idx="4">
                  <c:v>899507</c:v>
                </c:pt>
                <c:pt idx="5">
                  <c:v>8373</c:v>
                </c:pt>
                <c:pt idx="6">
                  <c:v>1670207</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Dollar Shave Club</c:v>
                  </c:pt>
                  <c:pt idx="5">
                    <c:v>Van Der Hagen</c:v>
                  </c:pt>
                  <c:pt idx="6">
                    <c:v>Schick</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5</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2</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c:v>
                </c:pt>
                <c:pt idx="1">
                  <c:v>-0.17500000000000004</c:v>
                </c:pt>
                <c:pt idx="2">
                  <c:v>1.25</c:v>
                </c:pt>
                <c:pt idx="3">
                  <c:v>-0.88900000000000001</c:v>
                </c:pt>
                <c:pt idx="4">
                  <c:v>0</c:v>
                </c:pt>
                <c:pt idx="5">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0</c:v>
                </c:pt>
                <c:pt idx="1">
                  <c:v>-0.42900000000000005</c:v>
                </c:pt>
                <c:pt idx="2">
                  <c:v>0.125</c:v>
                </c:pt>
                <c:pt idx="3">
                  <c:v>0.55600000000000005</c:v>
                </c:pt>
                <c:pt idx="4">
                  <c:v>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A07A85D1-C237-4159-9FAF-F42511022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27BBE04-87F5-4DCA-8DA8-2079B775A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5B83484-F50D-4B57-9CB6-5E7D3EADD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E258821-08EA-4D62-BD99-BD9FF3028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88F77E87-3508-4951-A584-6BBA7F4C7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DD33EAE-8E89-464A-91D4-0A28C6193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90E5AFB-D241-4D4A-8FA2-3CCB7EB8C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5D3B4CE3-AD70-43C6-AE4A-F23A0A784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725F7E35-B8D1-43C5-AB59-A583045C7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3EA1B373-C976-44E1-B203-431B760EE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FB9D7614-3DD4-4993-AA93-1825ED18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A8752B92-8A9E-415A-A15D-EE5DC8103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C8EBDCC6-331A-41C8-B799-F444823E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B7E9FCF8-8999-4960-8CA8-CE9FD285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CEF630F2-2D33-4376-BD10-E06C1CBDE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E17B2995-360D-4CAF-8115-EF3B66A4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43C39091-EC8E-424E-B854-E26AA8F3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966726AB-6CAF-4285-9608-57AAB05DE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5FE3B525-C113-4D96-842B-0D10EFEDF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F357755F-E86C-4595-AF67-D003CEE88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35407C0C-DA8A-4788-94BC-B1B231A9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BF0DC69-5BC8-4799-A006-F958864F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87272D67-6C62-439E-A8C7-AFB74B5B2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060AFE49-A01A-4E7D-BCD5-23448FBE4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E2DC7AE6-5831-4190-914A-FC0CDC665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56A7F4D0-3F4E-43F8-945C-42C46B47C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B4409C31-E6E8-4D83-8A0E-38242FE23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B295D1B6-6248-4682-B264-2B16909E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A5571B94-8D79-4759-9950-5785F6785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D998E400-BF96-4015-BBFF-AD0F1DDE7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10E90D51-7B55-4341-B93A-57E83CB58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C37D6B82-0044-4400-932F-32346D796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FF5FDB79-1822-4A58-B83E-31FBC09D0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7B7389B5-594D-4EC1-9799-1909F969B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3BF7351B-F58D-4141-8EB2-31EA9DE28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50066F12-117B-4E0E-AED5-0F9C31326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5517B37A-2B01-45CF-82C8-71BF14D25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1B0D12B7-A4CD-4732-82CB-B67879C65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6F345BDB-0346-4615-8FF0-2FDEE4089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B0E0856E-ED87-440A-BD2D-FC21BCD17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2E07C6A3-6B3C-4722-99CE-C596FEBE0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DD44748E-6CA8-4A41-8996-4F4B6D52A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0B9CAB0C-20BE-4974-97FC-0C79B9192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97CC9B94-9CFB-4116-AF0F-86AE61F25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2E7E694F-F7A1-45E1-82DC-C14E98D4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4BAFEC2-5473-47A0-B8B6-B839C419A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27A7B1B7-2329-40FC-B78C-8F8C93D62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4012CC04-18BD-46E8-845B-9F920CCA6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ACE3833F-F3E2-4672-BAE0-A3EAED17E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0BC8FA9A-82F5-4856-9B5D-4950648EC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B009169F-ECDE-4CA3-A26E-64DB71421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67480E45-307C-4DB2-A52A-464CC8F1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7B57828E-7B5A-4959-9003-AEF6A9AF7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6CE6CFB2-7DC3-4181-AD30-D68B4C6D5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7B094E27-F847-4E54-B5A5-29CEFCDF6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6092B01B-8363-4BFA-AF58-610F3C8E7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22B72A94-17DA-407B-8AAE-056B721A7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2A855F74-01F4-478D-9371-9ACC8FD8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57138C40-1040-4A94-95F2-1B024A2D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9E73FABF-6843-493B-A2C5-729B53FC4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956A939C-F5BD-460C-BF4C-8DFC27B44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E6430C8-DA71-485E-9A5F-056A5FBA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B2FC084B-E8BB-4768-93D8-77C04D695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49896089-8998-4F09-A255-CF51B18E3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2EDE1B16-08FA-4391-88DB-CFB9DE3B4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C44C7F5-5050-46F6-A7F9-FFF233009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08A88505-E6E5-4318-8525-88493F1AA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4ED50F08-DE66-40BC-8DE7-B80CBB9B1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824E1AA9-FD08-40AB-972B-65D2DA70B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789EC005-447E-44B2-A3F4-4FE2CC7C1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F29C12A9-36ED-44B1-9AD6-CE1C59E2A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3B92CB1F-B45F-43DB-94DD-5742B9C8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DAC3248E-03FB-4F23-9231-4AED56D85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2109EF19-BCF5-446F-92BC-9D7AE5347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B747CD4C-09CA-4DA7-8A42-13DC859EA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88CEE8EA-1B9B-4AC7-81E2-56B41C71A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036CCD24-1C17-4D93-B3FD-06F6D2DE1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DD97D179-B528-4827-81AE-4E4ADA43C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630953AB-2EE6-4FD9-9EA9-0A00C8EE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933D3F1-EDBE-4DC0-95D1-5A42C6CF6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83F08DC-6218-464A-A847-129F9AC5F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9503FCE-6F26-4FFF-BD6B-6DC0C17E5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261E7E2-1235-4E01-8023-B9249125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E9AE252-353E-4FFE-B5CA-B8DC2132E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14BFA3E8-29E4-4F68-8C14-4BD938309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6DA4E98-24A0-4662-BA48-AA8F75FC0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2854FB03-1E8E-47D3-A79B-391478DC5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95A95F0F-F218-4990-8B46-CD5C1CA49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088C7E2B-D8D3-49EC-A3B5-5131704A5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9D932ADC-63B1-44FF-88D2-2BAB6170A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02FC00D4-CD6B-42D9-8496-BBC237C73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153D919-091A-44C4-A327-6CDED7244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C2A30D61-757E-48FD-A6C7-EF344178C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4C0A4218-6160-4009-9509-41BFE2734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EBEC1E2-147F-4492-96A6-FA2D2E06B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D7B6294-B007-4E4C-A4F7-9AC032BE5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96649B29-CD3A-423D-BA8C-89DE296AE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D79F7271-0561-4857-9A56-AE821EF92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99EC7AB-638E-4A5B-8BB3-8B0425CEF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0A49B78-B3B2-4216-98CC-806C7B60D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08C0871-535E-46D2-9BBF-08727EFB4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7977F337-953C-4D76-8048-4954E16F6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3394CED5-9F5B-4AEB-84B4-DCA16DBFB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9D735B6F-B023-4531-AC12-15BD91713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61108926-AD99-471D-97B8-DF73E494A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DE0252F2-AF81-4EF5-901D-8864B9D1D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4E321B9-733B-46B9-8792-1CF991279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D0959F01-A4BC-4055-A23E-18DF805CC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B6B45930-AC4E-475A-AFCC-FFFB17E78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40740E3A-29E0-44E1-9778-AE0EDA801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38104A8B-5D25-41ED-9C66-9251FB44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DDDF524F-8CE3-4F41-A283-618C616EC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F6EB95FD-F599-4F09-A7BD-C99113F2E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6820AE4-5915-4D13-8449-64E381A5E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ADF3ACFE-E2C7-444D-AD7F-612BACA63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910AC71-7EEA-4601-AEC2-A21635F10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7E-2</c:v>
                </c:pt>
                <c:pt idx="2">
                  <c:v>0</c:v>
                </c:pt>
                <c:pt idx="3">
                  <c:v>-6.4570073600096284E-2</c:v>
                </c:pt>
                <c:pt idx="4">
                  <c:v>0</c:v>
                </c:pt>
                <c:pt idx="5">
                  <c:v>-4.1643562323654133E-2</c:v>
                </c:pt>
                <c:pt idx="6">
                  <c:v>-9.5586858697451857E-2</c:v>
                </c:pt>
              </c:numCache>
            </c:numRef>
          </c:yVal>
          <c:bubbleSize>
            <c:numRef>
              <c:f>Sheet1!$C$2:$C$8</c:f>
              <c:numCache>
                <c:formatCode>General</c:formatCode>
                <c:ptCount val="7"/>
                <c:pt idx="0">
                  <c:v>38005340</c:v>
                </c:pt>
                <c:pt idx="1">
                  <c:v>4081396</c:v>
                </c:pt>
                <c:pt idx="2">
                  <c:v>271146</c:v>
                </c:pt>
                <c:pt idx="3">
                  <c:v>1029606</c:v>
                </c:pt>
                <c:pt idx="4">
                  <c:v>1171</c:v>
                </c:pt>
                <c:pt idx="5">
                  <c:v>2362412</c:v>
                </c:pt>
                <c:pt idx="6">
                  <c:v>279376</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Dollar Shave Club</c:v>
                  </c:pt>
                  <c:pt idx="4">
                    <c:v>Van Der Hagen</c:v>
                  </c:pt>
                  <c:pt idx="5">
                    <c:v>Schick</c:v>
                  </c:pt>
                  <c:pt idx="6">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7624472228571966</c:v>
                </c:pt>
                <c:pt idx="1">
                  <c:v>2.6360938181587117</c:v>
                </c:pt>
                <c:pt idx="2">
                  <c:v>-0.4658879683808137</c:v>
                </c:pt>
                <c:pt idx="3">
                  <c:v>-1</c:v>
                </c:pt>
                <c:pt idx="4">
                  <c:v>-1</c:v>
                </c:pt>
                <c:pt idx="5">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1</c:v>
                </c:pt>
                <c:pt idx="1">
                  <c:v>1.0710000000000002</c:v>
                </c:pt>
                <c:pt idx="2">
                  <c:v>0.44399999999999995</c:v>
                </c:pt>
                <c:pt idx="3">
                  <c:v>1</c:v>
                </c:pt>
                <c:pt idx="4">
                  <c:v>0</c:v>
                </c:pt>
                <c:pt idx="5">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8.4931012668750583</c:v>
                </c:pt>
                <c:pt idx="1">
                  <c:v>-0.54165499869192579</c:v>
                </c:pt>
                <c:pt idx="2">
                  <c:v>-0.64569720819071874</c:v>
                </c:pt>
                <c:pt idx="3">
                  <c:v>-0.83358088080508452</c:v>
                </c:pt>
                <c:pt idx="4">
                  <c:v>-1</c:v>
                </c:pt>
                <c:pt idx="5">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E6E5E5"/>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FAB80431-EDAD-42A4-BACE-47BD8DCA3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E4B4FF0C-212D-4264-AAC5-C61444F2E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91D71A6-02D2-44FC-ABFF-3C343B678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5776747F-C37E-40C3-83D0-E38088EBF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57163B2-C08E-4AE9-9072-220444BA6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81AEF10-A542-449C-93CE-53FC80946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115D3E9-E625-43B0-9BEC-CCF75090D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A8DAC28-3A14-44E0-8328-44061D9E8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7701728-CDD3-4065-868B-6D1AA1A55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D6E81955-FDAB-4DF7-81A5-2FC72458A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5A3F07DB-FDD0-4F27-8763-FE5C4CB8E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14750F9F-1479-49AC-8176-1D0F5A107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2A4FE287-4060-40D3-B3AE-C744683D0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1DA617D-D392-426A-BDE1-280AB706E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07F3ECE1-C077-44FA-BE40-53635DC07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3C6AF292-6C3C-47E3-9519-F76497828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785F57DE-CC57-43CD-BB13-24E5B15AA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3DDD013D-0DED-486F-9113-3373317FB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3FCE2178-3E60-40F3-88F1-5FD83BC59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DAB03111-E2A7-4404-AD18-641F0FF63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6CDE4D2-70CB-45B1-B526-BFBC49B4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E411CAA-C46D-45E3-A13C-558EFC04D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83B18A82-B0EB-4ADE-B953-A6C0879B6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7CF32425-490C-408F-9A29-2E41E15F0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B45F7E35-A2B4-4C61-8CED-41A25407B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6CDFA990-965A-4907-B62B-69126FFC3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7C03CE3C-60F9-43BB-B196-04271C231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61BD2020-5CD3-4221-8109-F9F9733E8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C51CDF25-47F9-4EF2-BCA9-110B31903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09FF753B-83F4-4126-A3F1-736268B13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6948AF4A-8F23-4602-BA55-D1F77A85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02EA95BA-7951-47DE-B9AF-3B1B5FC59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C60AAF64-BFFF-4EA2-A6D6-26FC23C9B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C392452D-AB21-431C-9BF9-F46F46153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41310394-7D9C-4E7D-8758-7389E6653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BB5F50E7-8B31-4C0E-858C-EB4E8E76B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3366F2F8-F971-4609-8E49-6D7011AEB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C7DBB589-EB2D-4F63-AEF9-9A8E1F96F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6F685BB7-DADB-47D8-99BF-A0099FEE1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D7D85683-241B-4BAE-9495-242E754F9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D755A248-6F41-4345-925A-EC416B35A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9501B62-CE41-4A59-B72B-2D4CFEC14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45CC5B3C-34DA-4160-B368-68426342C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4410CF5F-BBF5-45B5-A1D5-15BB68786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C2A1C06-E8C8-429F-936D-9B2FBFC65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47DA0FC8-27C2-4564-8E2E-1BB630C02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299ABA3-EAC4-4D88-B8C0-414B4F16D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7683F25-9A7C-4436-A3C1-5EAC00642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37160998-D58D-47CE-B4ED-015BF21B2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12880C13-A11A-4630-8392-84015DC89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6D4EC95-4AED-4F46-B026-BC6239AA2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A5CE3500-0BBB-47D5-A776-757C7304A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7DC720F8-A445-49D7-86B6-4306BF704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9833A498-C852-4B18-B95C-0ED937D74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B5452E55-6A39-499E-A333-DEA665281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73C7D582-36A9-4F22-B15A-D1F3FFFE3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5BF00658-D253-4ED6-9074-7DAD878A6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32B91B2E-00FF-418C-9FF6-1B1D28C5B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4390895C-6811-40F0-ACCE-3D9847CAE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BB4C5AE7-D069-4FA3-BC0B-6C256B090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AD90CD67-771E-428D-AA4F-3B7F9AB5E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DE407BDD-F619-4996-85A1-E5FEED85F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AB4C9D66-03D1-4F58-99B6-E792BB7F6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677A48D8-425F-473B-A4E3-1F1085002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23FA0157-6F74-4D13-A589-7E23A4B6B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38BF0A21-B0D9-408C-AC39-3A53C96CF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BB631DB0-E098-41F3-90EA-64D64A54A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71F4D3F9-1277-4ACC-92A9-35BE9126A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0702E85C-D289-4810-B170-CED74B92A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6C7BB52-0C9E-41FB-B61B-5AF93A215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6DF98C40-7D91-457E-BDF0-2332B4797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B61CC78B-3D8B-47FE-867A-A4E52BD9D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2FACA45D-EE4C-4D40-9680-E5816A2A3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2D11D536-2386-4B62-BDA2-6D17BBF6E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A52B7F73-66A1-485C-B2C0-C2E60A680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2F5A3C76-1AA4-4D83-A00D-027F8AFB8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42C1FD83-387D-494A-98A5-8C9DC1828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DCF14972-4E08-4321-ADC3-286E479C8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14999864-81CB-4686-BF73-BDC30C95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5EC1FC96-093A-4FC5-93C8-DE01B81B5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F15A45DD-EC56-49C7-BE4C-3065F4755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2EE1BC14-6C7D-4E4F-8ADA-72188E8B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A8FE713F-B5AC-408A-91F2-66C45CF72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EFA1CAC5-4883-46CD-AE1C-C1F76D7E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8BDD9565-F95A-459D-94C9-4055B54AB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D0F30E0-FF8A-4A21-83BB-3B818258B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A4437AA4-A1E0-469F-8937-390354496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A3299DE8-F6E1-47BA-9D11-91D15FB56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E60F50BC-5D77-44BA-AE98-2D6C358E4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78C1690-B11A-4B57-8D2F-C2ACA55D0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04B76740-6E2E-4328-856F-5200429A1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5823B63F-3EC5-4045-B8D5-09BD9AF2E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0285FD98-3633-4DDF-BC79-D2BCD7800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D5A60D0C-F1FD-4A51-971A-501CD95D8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94BEA426-5A2F-4B5E-8F84-443118C34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7307D22A-A001-4377-8FA5-8507B6BD2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9A25A99-77D9-4822-B832-DE00EF9CB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98EBF1F-F296-4E6F-A2E2-E643D4F01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CCA1D4B6-5406-4ACC-8C12-C51E6503A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FFAA04E0-CFDB-4513-98F5-5127629E1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229EFAE-CE39-41C5-AD95-86E806835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A72C600D-8B41-4F49-B77D-731505EA1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1B88618D-4964-48DE-BBB3-16C77F06E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E118D9F6-9602-42AC-B755-1D5DCCABC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671A27A3-5A2F-43FD-89DF-3833FD577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841C800D-73EC-450C-A95D-168282A64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C3EE1B6A-0577-450B-9784-ACE0888CE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AE9E96B1-9C45-4C2C-B9A0-871DDA0A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D3BC268-99AB-41BE-B7AC-B110618AF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0815E522-709A-4FC7-B8E5-ACE930C92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4436D534-5A39-4E01-807A-9FA4BA54E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4D1E4F0F-293D-4254-B33D-9F13C57EF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460F605B-E56F-4218-97AE-4A089A6D7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85704A77-ACAF-4394-B938-A5BB4F665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1DCE83F5-B678-437A-B472-FC875EB85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69430CFB-1E69-4617-8E4D-E3E88E92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23134599885546031</c:v>
                </c:pt>
                <c:pt idx="2">
                  <c:v>0.53171493485300692</c:v>
                </c:pt>
                <c:pt idx="3">
                  <c:v>0.16872448312720459</c:v>
                </c:pt>
                <c:pt idx="4">
                  <c:v>0</c:v>
                </c:pt>
                <c:pt idx="5">
                  <c:v>0.17147629346397339</c:v>
                </c:pt>
                <c:pt idx="6">
                  <c:v>-6.0466840881935003E-3</c:v>
                </c:pt>
                <c:pt idx="7">
                  <c:v>0.13293961100065049</c:v>
                </c:pt>
                <c:pt idx="8">
                  <c:v>-1.7224132063395691E-2</c:v>
                </c:pt>
                <c:pt idx="9">
                  <c:v>0</c:v>
                </c:pt>
                <c:pt idx="10">
                  <c:v>9.1688710957997632E-2</c:v>
                </c:pt>
              </c:numCache>
            </c:numRef>
          </c:yVal>
          <c:bubbleSize>
            <c:numRef>
              <c:f>Sheet1!$C$2:$C$12</c:f>
              <c:numCache>
                <c:formatCode>General</c:formatCode>
                <c:ptCount val="11"/>
                <c:pt idx="0">
                  <c:v>56285498</c:v>
                </c:pt>
                <c:pt idx="1">
                  <c:v>6252872</c:v>
                </c:pt>
                <c:pt idx="2">
                  <c:v>892564</c:v>
                </c:pt>
                <c:pt idx="3">
                  <c:v>10656803</c:v>
                </c:pt>
                <c:pt idx="4">
                  <c:v>423669</c:v>
                </c:pt>
                <c:pt idx="5">
                  <c:v>4603858</c:v>
                </c:pt>
                <c:pt idx="6">
                  <c:v>1471589</c:v>
                </c:pt>
                <c:pt idx="7">
                  <c:v>6271036</c:v>
                </c:pt>
                <c:pt idx="8">
                  <c:v>1929113</c:v>
                </c:pt>
                <c:pt idx="9">
                  <c:v>9544</c:v>
                </c:pt>
                <c:pt idx="10">
                  <c:v>773970</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Harry's</c:v>
                  </c:pt>
                  <c:pt idx="3">
                    <c:v>Gillette</c:v>
                  </c:pt>
                  <c:pt idx="4">
                    <c:v>Harry's</c:v>
                  </c:pt>
                  <c:pt idx="5">
                    <c:v>Bic</c:v>
                  </c:pt>
                  <c:pt idx="6">
                    <c:v>Equate</c:v>
                  </c:pt>
                  <c:pt idx="7">
                    <c:v>Schick</c:v>
                  </c:pt>
                  <c:pt idx="8">
                    <c:v>Dollar Shave Club</c:v>
                  </c:pt>
                  <c:pt idx="9">
                    <c:v>Van Der Hagen</c:v>
                  </c:pt>
                  <c:pt idx="10">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9A90F38B-08CD-479F-9F50-905CBB751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7DEF9F45-6584-4E2B-90C2-7B2CECD21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63700615-7CF3-48FC-AF1C-EA142FABB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A3403CE8-3301-40CF-944F-76D10BE33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6F3E443-2B7B-4353-BCDA-2B950610A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BDF9FD3-E284-4E78-B065-E5DE3FF8E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9843260-04AB-4A69-B00D-5C61722EF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996A438-4D04-42A2-8B11-81735F94A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A13AA42D-DDF8-42E5-901F-4AD7C6C16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E9E83E1-7766-4603-9CC8-4549A08F8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C367C92E-D85D-48C2-A7E7-93ADDBD5D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425F0C07-CE95-4080-BD3D-2C108AF2A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B13D1C1-EA2B-43E9-8763-489033B84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A98942B8-D11C-4671-AD67-C3497B71A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67E3FAF0-9B92-48E2-BD99-31A13E456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A1643DFB-3FA9-412C-8880-1EE1B0C93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ACD7ABA1-D203-40CC-A0E5-5C6C69699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E7A7F68-00FA-4C22-908F-018C735FD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CFA5463D-C422-49EC-8E82-2653ECAE9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A9621388-4BED-4C18-B029-7D9BD530A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4262A27-BBEC-4DE7-8291-F9A6845D4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5B0E354-1422-491F-B295-0F6072D64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EF70A3EE-9D98-49AB-B74B-4DF35FF2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4E2A6D17-683D-4AD2-AC8A-0C7747BEA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5C1D8815-398D-4AC3-9D90-E49BF1373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FD2A4BFA-D2E1-4C7B-86E8-525346158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0383FC78-E123-4CCA-8AC9-7A206E4C4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EE6EEF38-7FE7-4E9E-9274-669FAA3B2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287231C9-E654-4753-96F0-5D6B6608D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1A2610C3-470E-4253-9FBA-5D150FA6D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7AEE325-68DD-4B80-8DAB-B9DFB45FA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F86DC985-5415-449C-921D-182F234C1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6EC8101F-00DB-4042-A0CE-FA9B80CB8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4307F74D-36E2-4481-978E-5726A010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55D7677A-5B6C-4165-B6EC-68DAC0469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B0B50CDD-FD73-4058-8BA0-E39FD39F9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466BEA96-7C84-40B1-98DF-FEDA5DA2E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D47B0BAD-33CB-4E3C-8B74-E89A3599B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7449D979-C17F-4793-A913-F8B6AE400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6615F5E-21E3-43EE-A6FB-0E3174B41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0ED5F21A-18A1-414E-B146-28FE3E967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BC96F02E-EFD5-41D4-B123-D84DCE9BA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CBA601F6-FF8E-441F-A4D8-10C67DE4B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810BFEB-E813-4C2F-8347-6DFC7DA7B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C0033EEC-17EC-4818-AA98-29A16C4AB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9A10D05C-915B-4C5D-AFE4-165473BB7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3B7227AD-0B33-475B-8C00-B19EE1DE4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C44C2E87-5809-4B79-A09A-811601D01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676539BF-EB77-4126-BE68-7E4230A7C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DBF16D9A-1217-4F99-BD59-D9F2382E7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711DD9B-E8A0-4037-905E-67F3760FA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1049416F-FCF9-456A-BFEA-B8F58168B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E64486A7-9B10-4414-ADA7-E9AFD1238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3B91291E-2597-49C0-AD47-49852A1F8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43D30E74-00C8-4864-9B73-DAC2F33D6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FEA9B812-9A0B-474F-8079-F36051A9E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FE7B2C11-2B87-4F64-814F-BEB51058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B6D9E820-E272-408F-811B-7BF59FF3E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441303B-7C7D-48D5-92A3-13656274E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F0D364EB-5E46-4079-BEAB-986CF0C9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2A809E48-8A55-4568-9E2F-37362CFC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8731BBC6-17CF-4C98-8665-4994ADD46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332F4592-3F7A-46EC-83E0-BC6494524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3C0B4A62-74F1-4E71-8A3F-7D390EC17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96B996D8-1107-422E-8D84-43DDC6C61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5CC326BC-957F-44AC-9A4C-FBF92D620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15F2C22-EB95-443C-9E62-C6C5CF0BC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6F51A90E-1DBA-4A25-8BFD-6E9E14D57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28FA224C-1AA1-4E98-A4FE-0D8DCC5A6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CFE8232-85D5-48C8-92E8-4F61B3255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B5F2BCF1-43A5-4784-B65A-7270861B7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D6DAE9D6-C60F-4A5D-B1DF-DA227674A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E1109F45-197D-4C38-8429-D47BBEA76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D984018-17F7-40AB-9D9A-D9FE5D788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3C6576B8-B948-4C86-AA4E-29DBB35EB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2B76C490-A853-454A-9E63-7ED64C669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83DA1798-5AC8-4473-9CEB-C435CC17C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8123C6A8-175F-4E92-A424-CE3341139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877253EA-7759-491D-8DE5-D17205974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C0814F48-D2A1-489B-8383-72EA6ECBF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BDB64B42-9631-4A72-820B-B70B508C2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5D3FC6D-4170-4155-BADF-2258F147A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0F6CF31E-59E7-469C-9387-EFC644F8B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707CB2B-80E4-4384-BAA3-F61E6D86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3111A332-0E3D-419A-8533-24A6D5B51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633A41A0-1F8E-4D38-95CB-AB9BAA963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06C21BB0-53FE-4675-9CF8-CD6B925DF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8B4C61DD-FBF9-48D2-A5A4-5268BBA7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FE9EE6B-301D-4C2D-A4F2-6FEED0974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BA6DEE58-BF57-4600-A149-26DF0CDA9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C8B21B55-8888-4617-A744-FB8BEF1B2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B8093E95-18C3-40AC-8625-35D6FEA6B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D76C2C81-3360-4862-94AF-CC615867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9411E1DF-A57B-483A-8A59-1FC7B672C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34781ED-C215-4AC7-897F-6364A0902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B2B469FC-033D-42BC-9E75-781903F21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FBDE4DE-905B-4472-8AE8-8BE9C0742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CA555FDC-5967-4E6B-85E0-0B0D4B290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AB5D9D5C-B52E-4607-A06D-A4376551B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EFD55A2B-1A0A-46B2-BE0E-7A4EED14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F903E71-50F1-4437-93B8-C25726A71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714A7FF6-B88D-4097-AF92-744041D44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8FDF0B8B-4F4D-4E78-8453-DC145C6B5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EC18766-240C-4D3D-AC2E-2A5C6142F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AEE3300A-0128-4092-9431-B72C41B19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336F3A90-14C7-4078-9FE1-AEB65282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82C0288A-280B-4A91-A69A-229578158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47707B87-FEBC-4466-919C-8A6878A21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D065BC8B-CA9B-4BBE-9339-90FF3FFE3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382C0A68-FB51-40B7-BFBD-D063B0A3D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A8ADBA5B-6D60-4327-86A5-024B7F6B8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289BD545-EBE8-4DFE-B37C-45D7859B4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99875DBA-6F05-4F56-BCEE-EE150EB26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A8A83284-004B-4520-AB07-6879414A3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EEE32912-6AE2-4304-89D0-543BFD0B2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FA1CB19-3BA9-4501-916E-3F50C323C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0.1008775144845046</c:v>
                </c:pt>
                <c:pt idx="6">
                  <c:v>-1.7224132063395691E-2</c:v>
                </c:pt>
                <c:pt idx="7">
                  <c:v>-8.5369613682766091E-2</c:v>
                </c:pt>
                <c:pt idx="8">
                  <c:v>0</c:v>
                </c:pt>
                <c:pt idx="9">
                  <c:v>9.1688710957997632E-2</c:v>
                </c:pt>
              </c:numCache>
            </c:numRef>
          </c:yVal>
          <c:bubbleSize>
            <c:numRef>
              <c:f>Sheet1!$C$2:$C$11</c:f>
              <c:numCache>
                <c:formatCode>General</c:formatCode>
                <c:ptCount val="10"/>
                <c:pt idx="0">
                  <c:v>46417119</c:v>
                </c:pt>
                <c:pt idx="1">
                  <c:v>892564</c:v>
                </c:pt>
                <c:pt idx="2">
                  <c:v>10301310</c:v>
                </c:pt>
                <c:pt idx="3">
                  <c:v>423084</c:v>
                </c:pt>
                <c:pt idx="4">
                  <c:v>2887750</c:v>
                </c:pt>
                <c:pt idx="5">
                  <c:v>4032718</c:v>
                </c:pt>
                <c:pt idx="6">
                  <c:v>1929113</c:v>
                </c:pt>
                <c:pt idx="7">
                  <c:v>330412</c:v>
                </c:pt>
                <c:pt idx="8">
                  <c:v>9544</c:v>
                </c:pt>
                <c:pt idx="9">
                  <c:v>773970</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Schick</c:v>
                  </c:pt>
                  <c:pt idx="6">
                    <c:v>Dollar Shave Club</c:v>
                  </c:pt>
                  <c:pt idx="7">
                    <c:v>Equate</c:v>
                  </c:pt>
                  <c:pt idx="8">
                    <c:v>Van Der Hagen</c:v>
                  </c:pt>
                  <c:pt idx="9">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CA13CE7-DE24-4513-B462-144CCFCF9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AD6CF80-3134-4972-BA3A-1C05ED19A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7DC7D32-FD84-4F8F-84F6-631F13492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79890DA1-A647-42F6-B7F5-66502883D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8D6B215-A379-498D-B083-271741EA9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E5EB67C9-9FE4-4FBD-B8D2-1E1DC7894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8C2AC51D-5824-42FE-907C-FC9147DBA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1E028EF-4EB2-44C8-8F86-9C149CAFA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ED91C45D-2C23-4041-97C0-38E32827A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20951C8E-DE6D-4EE3-8499-4F1E38D71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37B7F8CC-DE04-4896-888A-34A7E1FE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57AD1583-E9F6-4F97-8976-9168CF998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C175AAA4-5F16-43DF-A7D2-E671D57D5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2EA2EEC6-F125-491A-8D03-36DC84589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012430B3-B8EF-4012-B43E-6D0FA3949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DF64409-B508-4761-80B9-B9C16D0E4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BBD8300-118F-4989-AF13-A9C03F444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5E5CF928-788E-40EE-B2F8-668160625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21DF0CD-5461-4E94-B52F-433EBE48A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0A1DA693-45E9-4D2E-9E84-75B03BE71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2006634E-825C-4F2F-A7E8-ED37AC71D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E677FE0-FBEB-4356-8E2B-0EF980D83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059DF4E4-F3EF-4DDE-9901-8F05FD046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168B1F26-E684-4041-8213-408FF6E50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659D8DB4-5171-41C5-ACDB-12C0192B3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C795A916-B0D3-45FE-94B9-65A05CCC1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9C6BFD57-5505-4432-BA71-DB4BFBADD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FD601C88-88D6-4244-9403-837FFCC70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10365494-1E00-4E45-8453-9563C2B7E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9CD5D47D-C147-4BAA-895A-1EFEABA40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F36E1373-C796-4831-9D37-284B884E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3DFBA722-02D1-4F3E-B841-09F99D79D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DDCA9D6D-E402-4947-A860-5E4E4CD76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AC75EE8A-0A53-4FF9-AD56-202B5CDB9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9C7E1A63-613C-481B-A139-3885A93CA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99460BD6-932D-4378-8BCE-0A1BF12FB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ED1B03C0-13B2-4DC2-9379-4ABF770CB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236C24B3-193E-4754-8219-24082BB08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7AEDC4EB-67DD-4EBC-8608-FA9E249D5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A534C05F-7AD5-4E10-961A-425310A9E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ED4673FA-BC23-4945-929A-1B23A75D0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1DB66327-EF46-49E1-906C-8FD82AD1F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603E940B-F745-4835-9F7C-6B98B6B5E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37CE35B-D8FA-4FF1-9D23-4CD822483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BA06E0EA-CCB0-46F1-BD5B-B44BDC426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F89C298-8AB6-4F28-8143-4B2EF5857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D3D1FE05-D88B-4E08-AED5-D21179D00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F26574D1-F863-44E6-941A-4A219971A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D4A1A868-1856-476E-8837-CEC25ED61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CDD64A3-276B-427B-BC9E-AA70AF64F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614EA005-64EB-4BB9-88A4-3D8D7093D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F01F46DB-90E5-482B-8AFE-62DE56C2F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EA533D15-4976-467D-A36C-05C84437A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177879BE-87E1-4F00-8583-BDA592B8B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C1B11D52-641C-419D-9352-5023615B4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077A33AB-69D5-4E6B-BB9E-810E81D96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2975D0B1-62DE-4B35-9BC2-F4C4194DD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94AEB485-E4AF-4B87-8DAC-411684300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B3F00734-5060-484D-A715-260987956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5A1E1E6A-D96F-4956-B93A-6B626EDF7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EB720F6-4EC1-4796-BBBB-F72F9181B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34707F72-8BE6-4314-8C41-83C127E7D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75A72D17-AE15-4FE3-BD85-321C89EA3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BF6A3516-F22C-457A-B499-C93531E25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EE292C0B-5517-4CE3-B7A1-6192364B2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33C8B2B-E5C2-42CD-B32A-528C76139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7D68A7A8-5774-40D1-AB1D-61A063A81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6D51CB3-FAF3-4F8E-8290-594D1F67D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F7D63198-431A-4834-8CD6-FF103C24B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59AF76D-4466-4796-807C-F8B9AF211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084263A3-06DD-4DDC-8875-4DF95C063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7390A3C-F421-403D-AFDA-D0C811812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0B1B8A5-EA7B-4B8F-AE59-536A98E04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DB0C807-DBF1-4B5B-ADD7-85872F6D8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3D6E248A-F9CC-4709-B16F-A5FACB412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FC860493-DDE2-4E8C-90C0-B622A99CD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AF1505C4-5083-46CC-BC91-E2137ACF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0C0DEA37-7E56-4666-B8C1-964729233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BD5D7A38-49A1-4A12-A289-770CE8CC9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9E888B77-ED96-41AE-A6B3-2D533D4DB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C31E0678-6F2B-4B77-AC3A-B1F0CE076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FA6EB6F-DF86-4E7D-8710-B2672DA9C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0204EA0A-C9F1-467B-A361-702B06358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C02258E6-6E3F-495A-9CF6-C1FEE3375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3AD217F9-20DC-49B3-8F88-08BB067EF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81E57170-FFF5-476A-A125-F2A9D0DE7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517A2A00-0847-42D4-8221-F24768220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4DA17D9E-3CE6-4DAF-B810-465C84BD4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173EE42-9CF8-437F-95B8-2D49A5C01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FB1A8A5F-F301-43A6-B6D8-EDE6E569E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9BC5886D-A82E-4ACC-9999-03236F3BC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595AEDF7-D87D-4F6E-B4B9-DBF9711B9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E6D35885-AD15-4107-9DB6-C163068CB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6BE524B7-34C2-442B-8567-46063D771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0A07292D-A001-4D0B-9708-2FDFE10A6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6364B89C-2CFD-4CD9-B029-464155726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C9A37CBE-40DE-4ED3-BF68-BABFD9858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BEBBEE3E-1B6E-4717-8A89-AC0ED3DB6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1B92DFC9-EF17-4257-9761-5F5201474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8F94A41-9826-44B1-9BBD-C306165D4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3D295A5-94E1-456D-AF47-E3A03D17B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4C7C6106-C902-4D49-B367-3A677C22C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FD9DAB73-62D7-403C-9565-7E45C47C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D31294A8-4D84-49BF-9E53-7FF16DF67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B975ECE9-C6CB-4371-8146-E45BC0DBC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90CD62F7-4C81-483F-8E37-CC8C3CB40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43323484-2D5F-450C-AF57-58A8D114E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18A5A759-FA38-4032-959D-9AEF209A4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EE48A34E-FA9D-4B06-9A88-E96E14A1B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C5D9C219-70CB-46FF-B759-AAE4284CF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BC2ED549-1C41-49A1-B486-2F6050795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6421F641-E33E-47A0-B23A-46675AF13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BE5922BC-042A-4C18-BDE0-3F25E7A12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6116431-B124-4E7D-9CB3-5257F634C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871D3D32-E06B-4AAB-846E-01CFC40A3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73FB116F-BA42-4D9A-A7B2-1647B3D16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0410523-AC3E-4EC8-933E-EC316869A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718CDBB3-6771-4608-90DF-2D9578B46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7890207-D8E9-424B-A051-33CC851CF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91EFF0A3-7BBE-4982-9BE0-E45F92FD4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CBB5829-C91C-47AD-B61D-14B8E1B05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F64AF5C-87C9-4190-B87C-810DDFEB7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85C7DD2E-972A-434C-A264-EADE79B41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1D0C2A8-40C0-4E53-965E-5054B0892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F19879BD-5AD3-4D5C-B6D8-132A87DBA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A2DDF3E8-0066-4203-B230-3E8F54E68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9B3751B5-A280-4C9C-941F-115840F45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39FE4511-C8C6-43E2-ACB3-946993166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4DFED088-1CA8-4E4B-8C15-0DD65A0C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3EFBB6D-0D6B-4308-B467-C3563CEB6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C7040992-0B69-4A82-BC27-72A5018AC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ACEAB2E6-C03A-4328-B203-B1D8979B4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3A9947C2-9958-4E56-9CE3-EC6908CEC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896845E-B6DB-4511-9CAC-CE9CA410D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03351D3D-BAC7-4700-AF99-D3B86FA2B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E95506D5-8EB9-4F15-BC66-078C0E31F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A4BBCD2C-2FF4-48F9-901D-98440F51F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A3A7314E-AEFE-4454-A17B-EF0E9B008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7C5FE4FC-068A-4ECE-AF26-C1514B5EB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180AEE4E-3236-4AB7-8E2E-BA6B0626D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56790B5C-7485-4BF3-A342-EF3F20D87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A1CF81EE-C42C-4A4D-838C-22D827A53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5FC5E58D-EBAD-488D-968B-ACF024B47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706FCA9-57B9-40E4-8015-89FB3DBBB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37F9678C-2DD5-4857-ACD4-FD0525369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B716C2AB-0166-42CC-BDE0-409ECFE35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588C8A17-565C-4DE7-9632-D33A8FACB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E3A299DF-77F5-4B4E-BD03-CDBC0A26E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5831BA40-B12C-48BA-8866-20172CD01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CDCC8106-097A-490C-8CC3-A263ECC05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8B1D8832-BCC3-4A1E-9EF7-0F2D39F73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E7C3A5F6-385F-41B9-9DF0-D4DA9172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F946BE5-CEBA-45F3-A3BF-11A2B0D29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0CEA9B4D-1956-4642-BF7D-028CED366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A8D28356-A091-40A0-85BF-688404D91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10B92E0A-9FAE-43B1-81E5-00230DFAD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142FE86E-ABDB-450F-BD1E-80C4337D4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5B17B859-2C87-4229-9D1D-C8FEA1D35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AA7932BE-9B7A-47CF-BB2E-5B55FE59E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BCD5A3EC-34BC-4D96-81ED-CFE1A2955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0800A298-4FF8-4E23-BDBA-BC16A3E1D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A328B1A-E851-450B-BC1C-4D22044AE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81D4131-7C85-4F4B-85F3-950CAC481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4E9F1D48-A9BB-4C45-819D-4D5E9B49A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CF99FF60-359F-46B9-8C5C-D78B902A5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6EA339C-B669-4E58-9DFA-308166944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D05D24A-321C-46AC-8E7B-B839A9F86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063BF985-179B-4EFE-8898-E664C2526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52067291-CB05-4A44-A345-DF7519B73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B7949718-20A7-4EEE-A6DB-A1966149B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CCE80A7D-DFF2-4819-A05A-A947DFEE1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F43E9C4B-6E1E-47F2-A47A-DA10F271B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53D0064E-A6D9-46E3-8646-0A1952C3B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1FBC807A-D72A-4382-A904-C69FB8516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2989DD98-3E2B-40B5-B26A-A9D4501A0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979BC59C-E0C0-4C3A-9C99-15B65C60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D1DD75BC-D2DE-4570-A652-D9503578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FF70C29C-8A05-45ED-9D61-D0AA31F97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43B3A540-7267-4466-9E98-A21F9390A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6EF680F-BA1F-4CDD-808D-66D931C5E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FC314317-FE75-4081-ACCC-95621E5C0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67E47202-6D38-4DDC-B75E-00BFF65BA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9AE0D42C-21B3-4061-810E-80362832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77D0032C-7BAC-4E31-A52B-DF89D1AFD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85DC553C-6473-4068-A541-E24EBAEB8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B94AAB90-C4C6-462D-A249-74ADC90E4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6E1425F-96F6-4BF6-9DC0-DCD96966F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D7B35F1-6FCE-43F2-9442-FB5AE6939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B06B3CE-B820-4E59-87F3-E09DC0399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F7D8C44-A3A5-440B-902D-9A83DA92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BBC9B033-44D6-4EF1-86BD-7633030B3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C84811C1-1708-4438-AE2A-C39C6B956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6ADC0F23-AEE7-4833-90E3-3D9C2F3CC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44AFC870-FDE1-4C6E-A633-294A2AA2F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90B32954-7BE2-495A-B202-1401BF7EB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6E628B7A-3FA1-4D3D-93C1-D5F002829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8D7588D-2DE5-4361-96A3-78D24B147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4CE332E1-B8B2-4BCD-B373-53E973C60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D0AEFDB-1F54-4AD9-913A-1A4299F57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A80467D1-498A-460D-876A-5282D083D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CEDAD9F-573C-4E41-A941-7FFF3F73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AE64A300-7915-4274-90EE-59EACBCC1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EDC8ACE-95D7-4B5F-8B0F-BDC4F850B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48FC3FF9-61CB-4A02-ACC6-F76CDC4B2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2A4072B-460D-4311-B928-D468D9791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20B3FB8-27BF-41A7-B40C-AA28209B5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769228D-C6DD-4EDA-BCD6-266F4C496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D80AF550-C652-4B92-9D2B-8C9793ABF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19CA9A3B-E3AC-482C-A14F-2062545D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DC299162-EA2C-479F-86A7-C91A5D75E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B59A2A5-6FC6-4EE3-9EBD-28B8CD7A5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06A601D-25D1-4EDB-AE8F-D2C9C2455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1D38454-2179-4DAC-8727-86875114C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C6D4F104-8336-41CB-9783-26F8723B0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8ED65A38-98B8-4815-B20B-8608EAE9B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67CD3209-E6E8-464B-9540-FA88909FF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B4CB034-1E3A-4E59-A105-5A5A340D6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9726B0C2-5C59-4649-BAA9-3CFBDACC4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CF2935CC-B0F8-4F22-9E98-36A2BFC4A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C494FC5-09BB-422F-9413-EA52CB09F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979D1F57-6CF1-45AA-976E-7EAF8E1AE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6562CF44-49B4-449D-8A21-CA9BD09E4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250BAD96-FB73-4DCE-89D8-F18F22D5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D40378BD-7188-40E7-BBDF-71C050E39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04C5FC5A-7E90-48DD-B474-0CB808E0C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655D8FB2-2E78-468B-9648-1C933EA3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EFE0ECF9-A2FA-463B-BE71-4FBFF4EF6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EB05043-C6D0-4B90-A21C-B2C145A95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25F9ED5B-661F-4F3D-AAA6-787D30954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1DA376C-EC26-43ED-AF2C-7515E314D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592904B4-6AF7-4191-ACA3-9A181476D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D01B9AA-CC89-4ABB-9884-E840254CD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42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7ECAC4"/>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5E2A27CC-926E-412C-97D8-2B864AFAB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501D271-574A-40EF-8BCA-027D0D362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6CC063C-3293-4EA4-81CA-95B68CA3D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27A202E-2165-4B32-8BAF-9B43237D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35958F5-3F26-461A-811E-311A266FD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C9237A0-E409-4A93-B2EF-64890078A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8FE288D2-2C04-4499-B911-A4EADA7AC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A84B930E-234D-4F9B-AB26-FED8AD0DB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9ABBEDE6-AF0B-48C8-94BE-F0CB440C2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A0C0A936-1968-4001-A9B5-F9332B7C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E6E7A7C1-F488-46A8-B1DB-85FA432A2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A4F774F9-F992-4FE5-B8FF-91E6C842F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95E2F000-7112-4F2F-B90F-44BCE419F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8B672E2-8F5E-4E76-8B4C-966216114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B48AAC68-4259-431E-87F8-960EDB0AF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DF2235A2-0647-4306-BAC7-D53C4E550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3665DCF5-13A3-44AD-BAD5-120FD8C3C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F877DDC4-8964-4716-AE96-DAC28065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6FA5FBEF-08F9-4392-BFD5-161CED210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F2285C1E-1908-4725-A77A-DA3B5CF6D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9231463F-E261-4541-BE08-4D2BB585F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807A70BA-9E65-4E40-AEA8-6CDBADC80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3E6A82FD-0942-4A20-A876-453A9CBB2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08C828F6-3665-4B77-820F-4D2B9B5E2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C54AE1F3-B8D0-4F7C-996A-C4706425F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7FD232EC-F80B-4BA7-BAF6-F0A8B5891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DED02BFF-D8C9-4B30-BEF5-40E40DE77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31DDE469-1975-4E7F-84F9-CD3880DCE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FE2BD08B-8928-47A9-ABC6-157C86E1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009B880-F555-422D-80EE-B77776D71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AAB7BEB-A51C-4494-AFBB-652A6C43D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EA2C7DC0-7514-4541-A426-7736394B7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8C520A97-0315-40DC-988B-BC590B97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1702E451-4E20-4946-8A5B-22C8F0DC9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03024B3C-8256-49DF-A964-EA528481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E14D73F5-2829-4295-891B-6C4EC8E20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B3709E75-03EB-49C7-80E3-F47D9947E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62461761-4C48-4B9E-9655-CBB9D685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09A99797-4029-42C4-BC79-B616EC6CA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2D9366F-D763-4332-AD84-6D4B1F7D0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8EAC86E9-99A6-4651-B02F-CF6A51F88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2961C973-0EBD-4E65-8535-CE387F7A0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A8903B32-3B6E-458A-8EBC-55C72B892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FE2E633C-1A09-4BC0-829C-51A6AF116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BB28F876-0C5D-44B3-B1CB-5C2C1C8F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2FF0FEBA-6020-4966-90D1-BF317BDCE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266DDB73-F5CB-4AA4-830D-E3DC138E4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222584F8-53F8-4573-AF6C-7EEAD2319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0D7E8411-21AC-40BE-B3D8-3F4D15AAD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0711ABB2-ED54-433B-B3A1-D3C4C1D0C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B567FBBA-BDF1-49D0-A0C3-5E09C6D60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8ADFA29E-799A-4ACC-946D-7FF84B842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54EBBA49-E4FF-4374-8496-293CB45B3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1D2CBE57-27FD-4BAD-88B7-AEDE346D5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1628639D-3A72-439F-BB07-C655A5251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353586A4-1A0B-4575-8447-68BE589B8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0744182-E612-4BA4-8A81-0F963C104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3AD66266-6D9F-4616-9DB7-32D543189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119C5EDB-4BB7-4BF8-91A1-B134C624E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7142E1AC-E640-4ADF-ABAE-0F71C6653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552456B1-A55A-4944-91A1-EC24E7062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0EAD7A7C-E6CF-4CA4-A2A4-74D2F6225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64A2825A-5AE4-4FED-B6E4-97AC4237A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54E093BB-509A-4880-BE5F-E647F3C5D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73AAD356-DA8C-4233-BF70-453C382D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74F908E8-0121-45EF-A4AF-3EC4B2305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959CD689-B460-41CA-B76B-A988FD07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18E35D8-723E-4DB7-9323-82969A1BA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358D4A41-C129-4EA6-91F1-F2DF5DE3B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12708B0D-2B0A-423A-AE4A-29DEDE06F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D957EF64-EE93-4448-8419-BE9ACBE35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B350346-28D5-40CB-B403-288242F2C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1E47B6A-982A-4561-BFBC-7FDE4B86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E269C2FD-FE11-4856-A532-C24EF22E8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27AD56A2-176B-41F7-9A6E-8A0697E37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897A362C-1BE1-4EB0-A21C-0D59C98AB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3A04E3A7-7E96-4CAD-82EB-9FA431E9A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98EB50A6-FC2B-4DEB-8C15-699A61CA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03D05348-C380-4022-AF9C-E161E8846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BC58C642-1B13-4837-9A55-07F3D2E88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3006D1D-BEB7-41CA-BE1C-267FAE8EF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1DD73115-B047-4EAA-8FA7-6FEE866EE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755C1CB2-BB2D-49AA-9BC1-87383815F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A59CC87-2468-4282-98EB-6BE1A3473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846B3B7A-6533-4D0B-A30F-E6003B0D4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608D103-548B-404A-9B57-59CF5AF44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3C150955-CD8C-44A2-A047-F3F552B5F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87C7A915-326D-464E-9759-CB30AB1B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E736F303-8220-4482-8867-B55C44038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968992E-0017-4AF2-B845-37D838EC2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34A71AF2-2478-4709-B3DE-BB12E6447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C616B1C6-70D1-42D1-9179-126AEA566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CDA59CFA-DB5A-4DB7-86CD-9610D4AE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3036AEBA-7E14-488F-AAD0-1EBD231EA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01935099-FB9C-497A-9CFF-8A2DAB2BA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E3AFFF2B-FBF7-4E68-8591-ADD3DA911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5ACA0067-B4FC-4B21-8191-2B6549316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E59CDE0F-A857-49F3-A73E-AF3F2AEE7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695858D-47E6-4559-A186-834E5DF11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56355C3-5567-494B-80CD-FDBD4202B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674B71F-8F82-43DC-A26B-D58B0B1F7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20E24DA9-447D-4469-B187-2C22B93AE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7F295F7F-BA91-4F38-914E-C3DE39B50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0633430-FEFD-4CD5-8D0B-75C65CC03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239A556C-C60F-41F4-B71E-2AB053B82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997010BA-FFDF-4F5C-B8DF-317B186AC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8A372862-3792-4851-A790-ED4B8826E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9142A8B3-CD53-41C3-B105-6923BE661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2C8962F0-1958-4FA4-AABB-066776E00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04AA6257-FC8B-45DA-B888-BDB5441EA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62593932-05E8-4B9A-8152-0EC417554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53C218D9-6C86-4F60-9444-FE13E599E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1BA4E803-8A11-4E5E-8A88-3CCD2CE86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A12BF27E-25B5-4B29-B96C-4F9BA55E7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4312648-6DCE-4D9D-B125-0F8BF91AB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1565E3A4-A0C9-4D53-8E1F-64258B54A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0.47459336693573279</c:v>
                </c:pt>
                <c:pt idx="5">
                  <c:v>4.4656760499171042E-2</c:v>
                </c:pt>
                <c:pt idx="6">
                  <c:v>0</c:v>
                </c:pt>
                <c:pt idx="7">
                  <c:v>0</c:v>
                </c:pt>
              </c:numCache>
            </c:numRef>
          </c:yVal>
          <c:bubbleSize>
            <c:numRef>
              <c:f>Sheet1!$C$2:$C$9</c:f>
              <c:numCache>
                <c:formatCode>General</c:formatCode>
                <c:ptCount val="8"/>
                <c:pt idx="0">
                  <c:v>8411779</c:v>
                </c:pt>
                <c:pt idx="1">
                  <c:v>892564</c:v>
                </c:pt>
                <c:pt idx="2">
                  <c:v>6219905</c:v>
                </c:pt>
                <c:pt idx="3">
                  <c:v>151938</c:v>
                </c:pt>
                <c:pt idx="4">
                  <c:v>1670207</c:v>
                </c:pt>
                <c:pt idx="5">
                  <c:v>899507</c:v>
                </c:pt>
                <c:pt idx="6">
                  <c:v>8373</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Schick</c:v>
                  </c:pt>
                  <c:pt idx="5">
                    <c:v>Dollar Shave Club</c:v>
                  </c:pt>
                  <c:pt idx="6">
                    <c:v>Van Der Hagen</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7ECAC4"/>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ADA4E62-7846-4ACB-A2C7-09ED33107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DF9B87B6-BB36-4951-A225-3DD630C59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F000AC5-09CC-4AD1-86D2-285ACD6F0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C07013B-C992-41FE-BF9A-70D92FEBA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536EEFF-5C09-4DA7-9521-F159C3BC8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8055726-C2D6-4B2A-B9BB-99D13711C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5653DC50-A25A-4611-86BE-3F1BF94FA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9A631D2-59E6-4BD0-A69B-ACEFCABE8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2B659AB0-D370-4D33-876C-C8C74C047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90134782-ABB8-4B38-881F-EE635683C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84379374-57A7-4B7C-9194-37362644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37F26959-608C-43EB-BD62-3299C56D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B3FB06DB-F857-4EB5-BA33-8F82B1AD2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BE24DF8-A98C-437F-85F9-D6B21B6D4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3B338CEB-0272-430F-BC80-F1581EB3F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C92C9421-1C4D-4445-A031-EDB65BBF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0EB1D06C-3CE5-45A5-BB07-43BF52CEA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828E5E6D-F6F0-4121-9272-C056C7EA7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9C409492-C7CA-41C1-BD23-D73C9E36B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3B9A411D-810C-4EC4-81C6-752090CB7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5CA0DFDF-BA92-459F-9650-B9BA2CE23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D217116-E246-4584-B22E-A15ACEC22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F08CD20E-9313-43F2-B2EF-9C0116E97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92159D0B-F077-4A06-8DA1-D8439F49C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370DFF35-DC64-4ACC-BCDD-EC5524261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66AFCE8D-7D7A-4998-B780-D066A6222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1BD513C4-67C0-422E-B2A1-D4ECA62BA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676F9EB7-5B11-464F-A02A-5FFC44F19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26EBCCBB-A988-4C91-86EC-2F89C58CA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26749C1-C60A-4CD0-9019-6C5EE7E89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21546032-C5BB-41AF-85A1-820FEF80B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3809FE12-A600-452B-8218-073595846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0BF58C9A-3AC7-45A6-9EAA-59E9DDAC4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463E08DB-153E-4572-9C53-AFE09D4B3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C6EBE5A6-BC29-456D-BE44-EF9719785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F79FDCDA-923C-446B-9FC7-255A5EE89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19A4B43A-1925-474B-B8A4-886B6928F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741E9645-6CEF-4207-A56D-8AB2BC638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43BFE6B8-E1BC-43F7-8BC9-A36D8F021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50EBB9F-F5CB-407F-BC93-D38EF517D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58C8C71C-211F-439D-93C8-2E01FEA3F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D39C395F-CE85-40CA-8D67-4BE15CB51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5E23C91D-BCD4-4A01-9C17-80CFECBD9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0A0159EC-0FE9-4A17-B5EB-1B446CCB4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CE939270-FBF4-496D-8D9F-5EB1F65FE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CA40A899-DDB0-4ACD-9918-A6F6E820F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62BA04EF-4F65-4AC6-B1C1-22F74EBA1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59C81617-4192-4A29-A739-7AAE88A35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37B77DE4-1318-4F1A-9E76-4E7B48C14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E7EE3C61-21B4-40D4-8AFA-647FC1323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94CB4472-E781-429F-8CF8-61DAA598C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079C56B0-8FA6-422E-AA70-2B12A5E40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36299D0D-20A4-4D02-9214-3EE6D2408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3ADC6133-58D0-4BA5-99B7-D39112ADF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5C7B8E65-D112-47BA-97BB-A95E3B0D7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553DC102-7643-4917-8859-C99DD51FA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109CAE87-9791-440B-8C7E-C64067C3C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6F088BC0-1BE8-404D-BBA3-ECD57C770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04E87CC-9E74-44D8-AE6E-CBE5C8312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1982EE09-D4DA-41C3-B332-19147D8FB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14BD5DF1-44CD-425A-A700-C9EFAC2B1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7425ACEC-B4BF-4935-AC5A-EBB6A7AB8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4939385C-D7BC-4C86-8317-D27301537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11337AF3-BAA0-4FA3-A730-3ECA3F0F6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80C66EB1-2F82-4C98-86AE-7C495C01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FBE00CD6-5464-47B3-881D-9801CCAD0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EF894EA-DC3E-42DF-8342-7F10FFAE5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DDD7FAE7-55D2-47FC-BBEB-0A5C79D56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12EF4808-65D1-4A54-A141-14B4FCCDF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5C3BE0E-5C4D-4411-BE57-C85433556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113523C9-7906-4D80-A8AA-737CCA69D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B647FDE-273E-466A-8615-EF651AF5A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5740BFDD-CD28-476A-8B42-1B350368F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F826CBF-5DD4-4A90-963D-49A38B379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707E16B9-5FF6-481B-A8FD-177748114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C7A0A804-3B54-480E-BE64-E7AE7C2E7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3F845559-EE5F-4DC4-862E-D51BF3677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4A19E492-51C5-49A5-AD7B-A5F59B4A7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534F499B-A65A-4449-8789-8F412690C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5DDE2D2B-C67D-40C2-AEB4-9B1B6BD82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7215791-CDF1-45BC-9822-A2D351DA2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344EBB40-76B8-4566-8C3C-8F9941CB6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69528022-DBB1-424E-9DFC-05DABDDB2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C1D25D13-7EAD-4492-AE35-D08985FFB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C6B01BE1-D036-444B-A221-06CB825C0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1E10729F-2518-4DA8-807A-12AAAAC37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6C547895-5205-4E2D-82D8-A50F7396E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6E64D315-3DA2-4E8B-82A8-10B54E690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AEA7D715-24FB-4E7E-A77E-DE5F93BA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7AF64890-7167-4771-A402-BEA8BB31D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6574B674-3CC8-413B-A79A-94F71022A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CB8C6ECB-C26F-403D-9E75-3FA60DF4D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899089C9-CC73-439D-A48C-EA1C62EDD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13EF62C4-55E5-47D2-A4ED-D66F19C32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26FE41EF-9904-40B2-9775-1E3213F67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3583C78-BBE7-4190-8CE0-3D3651406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A6B495D2-541C-40DF-831F-D7C7092F8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C4091C79-8E19-44DC-8F7A-C1832D741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E58CB000-F8F6-41DB-9815-891EE262B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37E10227-CE49-4614-884A-69A626EE7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3D45FAEF-D5B7-4A14-8B9D-5F66CBE00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05AD131D-4383-4EF2-8043-98A70ADCF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F73FE30B-4D5F-4E06-9E2C-D215E0639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D483831B-B338-4886-A43F-B7AE8B7B8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BBD4DCE3-1473-47DC-876D-5CF67EA81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1C4E997A-7431-48EF-A3D2-6B9B8819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62E16C5D-33D3-4527-AEF1-8169C5FB5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72B58D87-F827-4EA2-AF82-352A331A1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54A8B04D-6D48-45D6-BCD7-120E720FA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14F58C55-912F-4116-AB1E-770EBD209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F63DA473-CC38-4FF7-949D-6D85ACCD9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0CF87EEB-A8B3-4898-8A3C-820D18D17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DEB12E2-C4CC-4E9C-ABE4-83CA59AE1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09E841B9-CB80-4008-8B9F-502509204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0C32449-EF4F-462B-9694-F6AF4049B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4AAEFDF1-441E-4DA9-9DBB-C7BC9427F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7E-2</c:v>
                </c:pt>
                <c:pt idx="2">
                  <c:v>0</c:v>
                </c:pt>
                <c:pt idx="3">
                  <c:v>-4.1643562323654133E-2</c:v>
                </c:pt>
                <c:pt idx="4">
                  <c:v>-6.4570073600096284E-2</c:v>
                </c:pt>
                <c:pt idx="5">
                  <c:v>-9.5586858697451857E-2</c:v>
                </c:pt>
                <c:pt idx="6">
                  <c:v>0</c:v>
                </c:pt>
              </c:numCache>
            </c:numRef>
          </c:yVal>
          <c:bubbleSize>
            <c:numRef>
              <c:f>Sheet1!$C$2:$C$8</c:f>
              <c:numCache>
                <c:formatCode>General</c:formatCode>
                <c:ptCount val="7"/>
                <c:pt idx="0">
                  <c:v>38005340</c:v>
                </c:pt>
                <c:pt idx="1">
                  <c:v>4081396</c:v>
                </c:pt>
                <c:pt idx="2">
                  <c:v>271146</c:v>
                </c:pt>
                <c:pt idx="3">
                  <c:v>2362412</c:v>
                </c:pt>
                <c:pt idx="4">
                  <c:v>1029606</c:v>
                </c:pt>
                <c:pt idx="5">
                  <c:v>279376</c:v>
                </c:pt>
                <c:pt idx="6">
                  <c:v>1171</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Schick</c:v>
                  </c:pt>
                  <c:pt idx="4">
                    <c:v>Dollar Shave Club</c:v>
                  </c:pt>
                  <c:pt idx="5">
                    <c:v>Equate</c:v>
                  </c:pt>
                  <c:pt idx="6">
                    <c:v>Van Der Hagen</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fld id="{C36B7BDF-021C-4CB7-A2F2-873A4F4EA7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05ACEA75-86A6-49C6-9D66-F7AB147DC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8CE1814D-5C59-4187-BFAF-21A34830B1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7A9F5EDE-ADEF-47E2-8959-3FB905F5D7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E40DD6FE-DF65-4271-BAA2-12CF849EC3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8E54C84C-282E-40A7-863B-F2461A5F13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5656E284-801B-4FE1-849A-98C8B25895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24FDBF14-47F9-46B3-9580-85B603A2A6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84CF0C3F-7E32-4B1B-A2D0-0BC57E9B7D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EE8EB1C5-A13C-421D-9C44-7C9CF871A3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0F850FB0-E982-478F-BCC1-76E01FBFFE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9B14EF0D-1C83-47F4-8134-26951BC5B2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E00E7C6E-0C83-4762-9111-070A9290A4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D4B29CEF-01E9-4557-A86B-A0D19706A5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4B3FAB93-4809-42A2-AFDA-F55B41C696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D492C9B3-E8EB-4AA6-8885-5CD37DAA1F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3BB56439-79CF-4560-8B56-105BD538B5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7117EB38-59B6-4C70-ADCD-7F6D7FFDBA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62209C41-6323-4E0A-8FA2-1724759BBA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740C618B-7C1E-472D-9D22-946604B425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0DB3DB2A-6B02-4841-A2D3-FAC215792A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1A8B04C9-66B1-488E-8EB2-D4DBBD1CD3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73FA5B7D-EC4E-4FF2-B043-6A7F44C882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173C5C71-A641-401C-AC79-3E6DCC9D56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D1C8D429-9B3F-4D71-B5AD-FD0692C5D9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48446855-9F39-4A4A-B106-043C75BD7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4EFA95E5-38D7-4241-9F75-DF6071398C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CFC2EC9F-2D96-4969-BDDC-F9D265A88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EA288AA7-A5E9-48EF-8F93-09F5CD5A71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8ED86F8E-3E37-4996-9BDB-AA8A44C5AB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A93A3EFB-A791-4A04-91EE-70AC728E75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1</c:v>
                </c:pt>
                <c:pt idx="1">
                  <c:v>0.1</c:v>
                </c:pt>
                <c:pt idx="2">
                  <c:v>0.09</c:v>
                </c:pt>
                <c:pt idx="3">
                  <c:v>0.18</c:v>
                </c:pt>
                <c:pt idx="4">
                  <c:v>0.09</c:v>
                </c:pt>
                <c:pt idx="5">
                  <c:v>0.15</c:v>
                </c:pt>
                <c:pt idx="6">
                  <c:v>0.16</c:v>
                </c:pt>
                <c:pt idx="7">
                  <c:v>0.11</c:v>
                </c:pt>
                <c:pt idx="8">
                  <c:v>0.15</c:v>
                </c:pt>
                <c:pt idx="9">
                  <c:v>0.14000000000000001</c:v>
                </c:pt>
                <c:pt idx="10">
                  <c:v>0.14000000000000001</c:v>
                </c:pt>
                <c:pt idx="11">
                  <c:v>0.63</c:v>
                </c:pt>
                <c:pt idx="12">
                  <c:v>0.32</c:v>
                </c:pt>
                <c:pt idx="13">
                  <c:v>0.18</c:v>
                </c:pt>
                <c:pt idx="14">
                  <c:v>0.19</c:v>
                </c:pt>
                <c:pt idx="15">
                  <c:v>0.09</c:v>
                </c:pt>
                <c:pt idx="16">
                  <c:v>0.17</c:v>
                </c:pt>
              </c:numCache>
            </c:numRef>
          </c:xVal>
          <c:yVal>
            <c:numRef>
              <c:f>Sheet1!$B$2:$B$18</c:f>
              <c:numCache>
                <c:formatCode>General</c:formatCode>
                <c:ptCount val="17"/>
                <c:pt idx="0">
                  <c:v>0.41971844948119458</c:v>
                </c:pt>
                <c:pt idx="1">
                  <c:v>0.32321333425762577</c:v>
                </c:pt>
                <c:pt idx="2">
                  <c:v>0.36276214714860788</c:v>
                </c:pt>
                <c:pt idx="3">
                  <c:v>0.57638357247666672</c:v>
                </c:pt>
                <c:pt idx="4">
                  <c:v>0.23920180796808771</c:v>
                </c:pt>
                <c:pt idx="5">
                  <c:v>0.49380320527335569</c:v>
                </c:pt>
                <c:pt idx="6">
                  <c:v>0.57084878338506662</c:v>
                </c:pt>
                <c:pt idx="7">
                  <c:v>0.64004334794386986</c:v>
                </c:pt>
                <c:pt idx="8">
                  <c:v>0.81179470441236323</c:v>
                </c:pt>
                <c:pt idx="9">
                  <c:v>4.4079737091422273E-2</c:v>
                </c:pt>
                <c:pt idx="10">
                  <c:v>0.4457406191728599</c:v>
                </c:pt>
                <c:pt idx="11">
                  <c:v>0.83772084414568115</c:v>
                </c:pt>
                <c:pt idx="12">
                  <c:v>0.883084064382609</c:v>
                </c:pt>
                <c:pt idx="13">
                  <c:v>1.5836045021710721</c:v>
                </c:pt>
                <c:pt idx="14">
                  <c:v>0.6815896641199366</c:v>
                </c:pt>
                <c:pt idx="15">
                  <c:v>7.4577739281074057E-2</c:v>
                </c:pt>
                <c:pt idx="16">
                  <c:v>0.27030795344325897</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ENSOR 2 PLUS PIVOT 2 BLADE DISPOSABLE NORMAL 52CT</c:v>
                  </c:pt>
                  <c:pt idx="3">
                    <c:v>SCHICK XTREME 3 SENSITIVE BLACK GREEN 3 BLADE DISPOSABLE SENSITIVE 20CT</c:v>
                  </c:pt>
                  <c:pt idx="4">
                    <c:v>GILLETTE FUSION 5 PROGLIDE 5 BLADE RAZOR NORMAL 13CT</c:v>
                  </c:pt>
                  <c:pt idx="5">
                    <c:v>GILLETTE SKINGUARD POWER 2 BLADE REFILL SENSITIVE 13CT</c:v>
                  </c:pt>
                  <c:pt idx="6">
                    <c:v>GILLETTE FUSION 5 5 BLADE RAZOR NORMAL 9CT</c:v>
                  </c:pt>
                  <c:pt idx="7">
                    <c:v>GILLETTE SENSOR 3 SENSITIVE BLUE GREEN 3 BLADE DISPOSABLE SENSITIVE 24CT</c:v>
                  </c:pt>
                  <c:pt idx="8">
                    <c:v>HARRY'S ORANGE 5 BLADE RAZOR NORMAL 11CT</c:v>
                  </c:pt>
                  <c:pt idx="9">
                    <c:v>SCHICK XTREME 3 SENSITIVE BLACK 3 BLADE DISPOSABLE SENSITIVE 20CT</c:v>
                  </c:pt>
                  <c:pt idx="10">
                    <c:v>BIC FLEX 5 BLACK WHITE 5 BLADE DISPOSABLE NORMAL 9CT</c:v>
                  </c:pt>
                  <c:pt idx="11">
                    <c:v>GILLETTE INTIMATE BLACK 5 BLADE RAZOR 9CT</c:v>
                  </c:pt>
                  <c:pt idx="12">
                    <c:v>GILLETTE FUSION 5 PROGLIDE 5 BLADE REFILL NORMAL 15CT</c:v>
                  </c:pt>
                  <c:pt idx="13">
                    <c:v>GILLETTE LABS 5 BLADE RAZOR NORMAL 6CT</c:v>
                  </c:pt>
                  <c:pt idx="14">
                    <c:v>BIC 3 SENSITIVE BLUE GRAY 3 BLADE DISPOSABLE SENSITIVE 21CT</c:v>
                  </c:pt>
                  <c:pt idx="15">
                    <c:v>GILLETTE FUSION 5 PROGLIDE 5 BLADE REFILL NORMAL 13CT</c:v>
                  </c:pt>
                  <c:pt idx="1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HARRY'S SURF BLUE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CFF-4040-BE4A-97C0E12C9898}"/>
                </c:ext>
              </c:extLst>
            </c:dLbl>
            <c:dLbl>
              <c:idx val="51"/>
              <c:tx>
                <c:rich>
                  <a:bodyPr/>
                  <a:lstStyle/>
                  <a:p>
                    <a:r>
                      <a:t>EQUATE TB (TWIN BLADE) BLUE 2 BLADE DISPOSABLE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CFF-4040-BE4A-97C0E12C9898}"/>
                </c:ext>
              </c:extLst>
            </c:dLbl>
            <c:dLbl>
              <c:idx val="52"/>
              <c:tx>
                <c:rich>
                  <a:bodyPr/>
                  <a:lstStyle/>
                  <a:p>
                    <a:r>
                      <a:t>BIC SENSITIVE 2 2 BLADE DISPOSABLE NORMAL 10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CFF-4040-BE4A-97C0E12C9898}"/>
                </c:ext>
              </c:extLst>
            </c:dLbl>
            <c:dLbl>
              <c:idx val="53"/>
              <c:tx>
                <c:rich>
                  <a:bodyPr/>
                  <a:lstStyle/>
                  <a:p>
                    <a:r>
                      <a:t>BIC FLEX 5 5 BLADE DISPOSABLE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CFF-4040-BE4A-97C0E12C9898}"/>
                </c:ext>
              </c:extLst>
            </c:dLbl>
            <c:dLbl>
              <c:idx val="54"/>
              <c:tx>
                <c:rich>
                  <a:bodyPr/>
                  <a:lstStyle/>
                  <a:p>
                    <a:r>
                      <a:t>EQUATE EASY FIT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CFF-4040-BE4A-97C0E12C9898}"/>
                </c:ext>
              </c:extLst>
            </c:dLbl>
            <c:dLbl>
              <c:idx val="55"/>
              <c:tx>
                <c:rich>
                  <a:bodyPr/>
                  <a:lstStyle/>
                  <a:p>
                    <a:r>
                      <a:t>EQUATE EASY FIT 5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CFF-4040-BE4A-97C0E12C9898}"/>
                </c:ext>
              </c:extLst>
            </c:dLbl>
            <c:dLbl>
              <c:idx val="56"/>
              <c:tx>
                <c:rich>
                  <a:bodyPr/>
                  <a:lstStyle/>
                  <a:p>
                    <a:r>
                      <a:t>HARRY'S SILVER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CFF-4040-BE4A-97C0E12C9898}"/>
                </c:ext>
              </c:extLst>
            </c:dLbl>
            <c:dLbl>
              <c:idx val="57"/>
              <c:tx>
                <c:rich>
                  <a:bodyPr/>
                  <a:lstStyle/>
                  <a:p>
                    <a:r>
                      <a:t>GILLETTE FUSION 5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CFF-4040-BE4A-97C0E12C9898}"/>
                </c:ext>
              </c:extLst>
            </c:dLbl>
            <c:dLbl>
              <c:idx val="58"/>
              <c:tx>
                <c:rich>
                  <a:bodyPr/>
                  <a:lstStyle/>
                  <a:p>
                    <a:r>
                      <a:t>GILLETTE MACH 3 MULTI COLOR 3 BLADE DISPOSABLE SENSITIVE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CFF-4040-BE4A-97C0E12C9898}"/>
                </c:ext>
              </c:extLst>
            </c:dLbl>
            <c:dLbl>
              <c:idx val="59"/>
              <c:tx>
                <c:rich>
                  <a:bodyPr/>
                  <a:lstStyle/>
                  <a:p>
                    <a:r>
                      <a:t>GILLETTE INTIMATE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CFF-4040-BE4A-97C0E12C9898}"/>
                </c:ext>
              </c:extLst>
            </c:dLbl>
            <c:dLbl>
              <c:idx val="60"/>
              <c:tx>
                <c:rich>
                  <a:bodyPr/>
                  <a:lstStyle/>
                  <a:p>
                    <a:r>
                      <a:t>BIC COMFORT 3 MULTI COLOR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CFF-4040-BE4A-97C0E12C9898}"/>
                </c:ext>
              </c:extLst>
            </c:dLbl>
            <c:dLbl>
              <c:idx val="61"/>
              <c:tx>
                <c:rich>
                  <a:bodyPr/>
                  <a:lstStyle/>
                  <a:p>
                    <a:r>
                      <a:t>BIC FLEX 5 HYBRID 5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CFF-4040-BE4A-97C0E12C9898}"/>
                </c:ext>
              </c:extLst>
            </c:dLbl>
            <c:dLbl>
              <c:idx val="62"/>
              <c:tx>
                <c:rich>
                  <a:bodyPr/>
                  <a:lstStyle/>
                  <a:p>
                    <a:r>
                      <a:t>BIC FLEX 5 HYBRID 5 BLADE HYBRID NORMAL 7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CFF-4040-BE4A-97C0E12C9898}"/>
                </c:ext>
              </c:extLst>
            </c:dLbl>
            <c:dLbl>
              <c:idx val="63"/>
              <c:tx>
                <c:rich>
                  <a:bodyPr/>
                  <a:lstStyle/>
                  <a:p>
                    <a:r>
                      <a:t>GILLETTE FUSION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CFF-4040-BE4A-97C0E12C9898}"/>
                </c:ext>
              </c:extLst>
            </c:dLbl>
            <c:dLbl>
              <c:idx val="64"/>
              <c:tx>
                <c:rich>
                  <a:bodyPr/>
                  <a:lstStyle/>
                  <a:p>
                    <a:r>
                      <a:t>HARRY'S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CFF-4040-BE4A-97C0E12C9898}"/>
                </c:ext>
              </c:extLst>
            </c:dLbl>
            <c:dLbl>
              <c:idx val="65"/>
              <c:tx>
                <c:rich>
                  <a:bodyPr/>
                  <a:lstStyle/>
                  <a:p>
                    <a:r>
                      <a:t>GILLETTE SKINGUARD 2 BLADE REFILL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CFF-4040-BE4A-97C0E12C9898}"/>
                </c:ext>
              </c:extLst>
            </c:dLbl>
            <c:dLbl>
              <c:idx val="66"/>
              <c:tx>
                <c:rich>
                  <a:bodyPr/>
                  <a:lstStyle/>
                  <a:p>
                    <a:r>
                      <a:t>EQUATE SPEED 3 SENSITIVE GREEN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6CFF-4040-BE4A-97C0E12C9898}"/>
                </c:ext>
              </c:extLst>
            </c:dLbl>
            <c:dLbl>
              <c:idx val="67"/>
              <c:tx>
                <c:rich>
                  <a:bodyPr/>
                  <a:lstStyle/>
                  <a:p>
                    <a:r>
                      <a:t>GILLETTE SENSOR 2 PLUS PIVOT 2 BLADE DISPOSABLE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6CFF-4040-BE4A-97C0E12C9898}"/>
                </c:ext>
              </c:extLst>
            </c:dLbl>
            <c:dLbl>
              <c:idx val="68"/>
              <c:tx>
                <c:rich>
                  <a:bodyPr/>
                  <a:lstStyle/>
                  <a:p>
                    <a:r>
                      <a:t>BIC COMFORT 3 HYBRID 3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6CFF-4040-BE4A-97C0E12C9898}"/>
                </c:ext>
              </c:extLst>
            </c:dLbl>
            <c:dLbl>
              <c:idx val="69"/>
              <c:tx>
                <c:rich>
                  <a:bodyPr/>
                  <a:lstStyle/>
                  <a:p>
                    <a:r>
                      <a:t>BIC SINGLE SENSITIVE 1 BLADE DISPOSABLE SENSITIVE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CFF-4040-BE4A-97C0E12C9898}"/>
                </c:ext>
              </c:extLst>
            </c:dLbl>
            <c:dLbl>
              <c:idx val="7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6CFF-4040-BE4A-97C0E12C9898}"/>
                </c:ext>
              </c:extLst>
            </c:dLbl>
            <c:dLbl>
              <c:idx val="71"/>
              <c:tx>
                <c:rich>
                  <a:bodyPr/>
                  <a:lstStyle/>
                  <a:p>
                    <a:r>
                      <a:t>GILLETTE SENSOR 2 FIXED 2 BLADE DISPOSABLE NORMAL 1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CFF-4040-BE4A-97C0E12C9898}"/>
                </c:ext>
              </c:extLst>
            </c:dLbl>
            <c:dLbl>
              <c:idx val="72"/>
              <c:tx>
                <c:rich>
                  <a:bodyPr/>
                  <a:lstStyle/>
                  <a:p>
                    <a:r>
                      <a:t>SCHICK XTREME 3 SENSITIVE GREEN BLACK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6CFF-4040-BE4A-97C0E12C9898}"/>
                </c:ext>
              </c:extLst>
            </c:dLbl>
            <c:dLbl>
              <c:idx val="73"/>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6CFF-4040-BE4A-97C0E12C9898}"/>
                </c:ext>
              </c:extLst>
            </c:dLbl>
            <c:dLbl>
              <c:idx val="74"/>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6CFF-4040-BE4A-97C0E12C9898}"/>
                </c:ext>
              </c:extLst>
            </c:dLbl>
            <c:dLbl>
              <c:idx val="75"/>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6CFF-4040-BE4A-97C0E12C9898}"/>
                </c:ext>
              </c:extLst>
            </c:dLbl>
            <c:dLbl>
              <c:idx val="76"/>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CFF-4040-BE4A-97C0E12C9898}"/>
                </c:ext>
              </c:extLst>
            </c:dLbl>
            <c:dLbl>
              <c:idx val="77"/>
              <c:tx>
                <c:rich>
                  <a:bodyPr/>
                  <a:lstStyle/>
                  <a:p>
                    <a:r>
                      <a:t>EQUATE CALIBER 3 3 BLADE DISPOSABLE NORMAL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CFF-4040-BE4A-97C0E12C9898}"/>
                </c:ext>
              </c:extLst>
            </c:dLbl>
            <c:dLbl>
              <c:idx val="78"/>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CFF-4040-BE4A-97C0E12C9898}"/>
                </c:ext>
              </c:extLst>
            </c:dLbl>
            <c:dLbl>
              <c:idx val="79"/>
              <c:tx>
                <c:rich>
                  <a:bodyPr/>
                  <a:lstStyle/>
                  <a:p>
                    <a:r>
                      <a:t>GILLETTE SENSOR 2 PLUS 2 BLADE DISPOSABLE NORMAL 21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CFF-4040-BE4A-97C0E12C9898}"/>
                </c:ext>
              </c:extLst>
            </c:dLbl>
            <c:dLbl>
              <c:idx val="80"/>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FF-4040-BE4A-97C0E12C9898}"/>
                </c:ext>
              </c:extLst>
            </c:dLbl>
            <c:dLbl>
              <c:idx val="81"/>
              <c:tx>
                <c:rich>
                  <a:bodyPr/>
                  <a:lstStyle/>
                  <a:p>
                    <a:r>
                      <a:t>EQUATE SPEED 3 SENSITIVE GREEN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FF-4040-BE4A-97C0E12C9898}"/>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3</c:f>
              <c:numCache>
                <c:formatCode>General</c:formatCode>
                <c:ptCount val="82"/>
                <c:pt idx="0">
                  <c:v>0.16</c:v>
                </c:pt>
                <c:pt idx="1">
                  <c:v>0.11</c:v>
                </c:pt>
                <c:pt idx="2">
                  <c:v>0.1</c:v>
                </c:pt>
                <c:pt idx="3">
                  <c:v>7.0000000000000007E-2</c:v>
                </c:pt>
                <c:pt idx="4">
                  <c:v>0.14000000000000001</c:v>
                </c:pt>
                <c:pt idx="5">
                  <c:v>0.14000000000000001</c:v>
                </c:pt>
                <c:pt idx="6">
                  <c:v>0.11</c:v>
                </c:pt>
                <c:pt idx="7">
                  <c:v>0.06</c:v>
                </c:pt>
                <c:pt idx="8">
                  <c:v>0.11</c:v>
                </c:pt>
                <c:pt idx="9">
                  <c:v>0.19</c:v>
                </c:pt>
                <c:pt idx="10">
                  <c:v>0.03</c:v>
                </c:pt>
                <c:pt idx="11">
                  <c:v>0.45</c:v>
                </c:pt>
                <c:pt idx="12">
                  <c:v>0.03</c:v>
                </c:pt>
                <c:pt idx="13">
                  <c:v>0.11</c:v>
                </c:pt>
                <c:pt idx="14">
                  <c:v>0.05</c:v>
                </c:pt>
                <c:pt idx="15">
                  <c:v>0.02</c:v>
                </c:pt>
                <c:pt idx="16">
                  <c:v>0.14000000000000001</c:v>
                </c:pt>
                <c:pt idx="17">
                  <c:v>0.16</c:v>
                </c:pt>
                <c:pt idx="18">
                  <c:v>0.01</c:v>
                </c:pt>
                <c:pt idx="19">
                  <c:v>0.04</c:v>
                </c:pt>
                <c:pt idx="20">
                  <c:v>0.04</c:v>
                </c:pt>
                <c:pt idx="21">
                  <c:v>0.1</c:v>
                </c:pt>
                <c:pt idx="22">
                  <c:v>0.35</c:v>
                </c:pt>
                <c:pt idx="23">
                  <c:v>0.1</c:v>
                </c:pt>
                <c:pt idx="24">
                  <c:v>0.12</c:v>
                </c:pt>
                <c:pt idx="25">
                  <c:v>7.0000000000000007E-2</c:v>
                </c:pt>
                <c:pt idx="26">
                  <c:v>7.0000000000000007E-2</c:v>
                </c:pt>
                <c:pt idx="27">
                  <c:v>0.04</c:v>
                </c:pt>
                <c:pt idx="28">
                  <c:v>0.28000000000000003</c:v>
                </c:pt>
                <c:pt idx="29">
                  <c:v>0.39</c:v>
                </c:pt>
                <c:pt idx="30">
                  <c:v>0.01</c:v>
                </c:pt>
                <c:pt idx="31">
                  <c:v>0.47</c:v>
                </c:pt>
                <c:pt idx="32">
                  <c:v>0.14000000000000001</c:v>
                </c:pt>
                <c:pt idx="33">
                  <c:v>0.47</c:v>
                </c:pt>
                <c:pt idx="34">
                  <c:v>0.39</c:v>
                </c:pt>
                <c:pt idx="35">
                  <c:v>0.46</c:v>
                </c:pt>
                <c:pt idx="36">
                  <c:v>0.54</c:v>
                </c:pt>
                <c:pt idx="37">
                  <c:v>0.28999999999999998</c:v>
                </c:pt>
                <c:pt idx="38">
                  <c:v>0.03</c:v>
                </c:pt>
                <c:pt idx="39">
                  <c:v>0.01</c:v>
                </c:pt>
                <c:pt idx="40">
                  <c:v>0.09</c:v>
                </c:pt>
                <c:pt idx="41">
                  <c:v>0.52</c:v>
                </c:pt>
                <c:pt idx="42">
                  <c:v>0.45</c:v>
                </c:pt>
                <c:pt idx="43">
                  <c:v>0.02</c:v>
                </c:pt>
                <c:pt idx="44">
                  <c:v>0.65</c:v>
                </c:pt>
                <c:pt idx="45">
                  <c:v>0.4</c:v>
                </c:pt>
                <c:pt idx="46">
                  <c:v>0.39</c:v>
                </c:pt>
                <c:pt idx="47">
                  <c:v>0.1</c:v>
                </c:pt>
                <c:pt idx="48">
                  <c:v>0.09</c:v>
                </c:pt>
                <c:pt idx="49">
                  <c:v>0.11</c:v>
                </c:pt>
                <c:pt idx="50">
                  <c:v>0.03</c:v>
                </c:pt>
                <c:pt idx="51">
                  <c:v>0.04</c:v>
                </c:pt>
                <c:pt idx="52">
                  <c:v>0.39</c:v>
                </c:pt>
                <c:pt idx="53">
                  <c:v>0.06</c:v>
                </c:pt>
                <c:pt idx="54">
                  <c:v>0.2</c:v>
                </c:pt>
                <c:pt idx="55">
                  <c:v>0.12</c:v>
                </c:pt>
                <c:pt idx="56">
                  <c:v>0.01</c:v>
                </c:pt>
                <c:pt idx="57">
                  <c:v>0.04</c:v>
                </c:pt>
                <c:pt idx="58">
                  <c:v>0.02</c:v>
                </c:pt>
                <c:pt idx="59">
                  <c:v>0.66</c:v>
                </c:pt>
                <c:pt idx="60">
                  <c:v>0.42</c:v>
                </c:pt>
                <c:pt idx="61">
                  <c:v>0.36</c:v>
                </c:pt>
                <c:pt idx="62">
                  <c:v>0.11</c:v>
                </c:pt>
                <c:pt idx="63">
                  <c:v>0.28000000000000003</c:v>
                </c:pt>
                <c:pt idx="64">
                  <c:v>0.12</c:v>
                </c:pt>
                <c:pt idx="65">
                  <c:v>0.54</c:v>
                </c:pt>
                <c:pt idx="66">
                  <c:v>0.06</c:v>
                </c:pt>
                <c:pt idx="67">
                  <c:v>0.14000000000000001</c:v>
                </c:pt>
                <c:pt idx="68">
                  <c:v>0.26</c:v>
                </c:pt>
                <c:pt idx="69">
                  <c:v>0.08</c:v>
                </c:pt>
                <c:pt idx="70">
                  <c:v>0.08</c:v>
                </c:pt>
                <c:pt idx="71">
                  <c:v>0.11</c:v>
                </c:pt>
                <c:pt idx="72">
                  <c:v>0.04</c:v>
                </c:pt>
                <c:pt idx="73">
                  <c:v>0.18</c:v>
                </c:pt>
                <c:pt idx="74">
                  <c:v>0.16</c:v>
                </c:pt>
                <c:pt idx="75">
                  <c:v>0.14000000000000001</c:v>
                </c:pt>
                <c:pt idx="76">
                  <c:v>0.57999999999999996</c:v>
                </c:pt>
                <c:pt idx="77">
                  <c:v>0.06</c:v>
                </c:pt>
                <c:pt idx="78">
                  <c:v>0.08</c:v>
                </c:pt>
                <c:pt idx="79">
                  <c:v>0.22</c:v>
                </c:pt>
                <c:pt idx="80">
                  <c:v>0.01</c:v>
                </c:pt>
                <c:pt idx="81">
                  <c:v>0.06</c:v>
                </c:pt>
              </c:numCache>
            </c:numRef>
          </c:xVal>
          <c:yVal>
            <c:numRef>
              <c:f>Sheet1!$B$2:$B$83</c:f>
              <c:numCache>
                <c:formatCode>General</c:formatCode>
                <c:ptCount val="82"/>
                <c:pt idx="0">
                  <c:v>1.312053273286643</c:v>
                </c:pt>
                <c:pt idx="1">
                  <c:v>0.67602970542929453</c:v>
                </c:pt>
                <c:pt idx="2">
                  <c:v>0.28036068611811321</c:v>
                </c:pt>
                <c:pt idx="3">
                  <c:v>2.322914669885693E-2</c:v>
                </c:pt>
                <c:pt idx="4">
                  <c:v>1.15044401511685</c:v>
                </c:pt>
                <c:pt idx="5">
                  <c:v>0.45428332366686403</c:v>
                </c:pt>
                <c:pt idx="6">
                  <c:v>0.91679313854690692</c:v>
                </c:pt>
                <c:pt idx="7">
                  <c:v>0.45219100593391298</c:v>
                </c:pt>
                <c:pt idx="8">
                  <c:v>8.8637819366076523E-2</c:v>
                </c:pt>
                <c:pt idx="9">
                  <c:v>1.313920192130057</c:v>
                </c:pt>
                <c:pt idx="10">
                  <c:v>0.15600012891003129</c:v>
                </c:pt>
                <c:pt idx="11">
                  <c:v>1.2051359733489531</c:v>
                </c:pt>
                <c:pt idx="12">
                  <c:v>5.2758507112676142E-2</c:v>
                </c:pt>
                <c:pt idx="13">
                  <c:v>0.2181542191916945</c:v>
                </c:pt>
                <c:pt idx="14">
                  <c:v>0.36596438157955558</c:v>
                </c:pt>
                <c:pt idx="15">
                  <c:v>0</c:v>
                </c:pt>
                <c:pt idx="16">
                  <c:v>0.31284334569805361</c:v>
                </c:pt>
                <c:pt idx="17">
                  <c:v>0.24607902091034181</c:v>
                </c:pt>
                <c:pt idx="18">
                  <c:v>0</c:v>
                </c:pt>
                <c:pt idx="19">
                  <c:v>0</c:v>
                </c:pt>
                <c:pt idx="20">
                  <c:v>0.20391858358753209</c:v>
                </c:pt>
                <c:pt idx="21">
                  <c:v>0</c:v>
                </c:pt>
                <c:pt idx="22">
                  <c:v>0.37892159394589803</c:v>
                </c:pt>
                <c:pt idx="23">
                  <c:v>0.51540924912371144</c:v>
                </c:pt>
                <c:pt idx="24">
                  <c:v>0</c:v>
                </c:pt>
                <c:pt idx="25">
                  <c:v>0</c:v>
                </c:pt>
                <c:pt idx="26">
                  <c:v>0</c:v>
                </c:pt>
                <c:pt idx="27">
                  <c:v>2.5617209633611041E-2</c:v>
                </c:pt>
                <c:pt idx="28">
                  <c:v>9.6810902583398334E-2</c:v>
                </c:pt>
                <c:pt idx="29">
                  <c:v>0.60985348269802508</c:v>
                </c:pt>
                <c:pt idx="30">
                  <c:v>0</c:v>
                </c:pt>
                <c:pt idx="31">
                  <c:v>0.98571760573774991</c:v>
                </c:pt>
                <c:pt idx="32">
                  <c:v>0</c:v>
                </c:pt>
                <c:pt idx="33">
                  <c:v>1.2512478823607049</c:v>
                </c:pt>
                <c:pt idx="34">
                  <c:v>0.34438555153868777</c:v>
                </c:pt>
                <c:pt idx="35">
                  <c:v>0.95133552575640024</c:v>
                </c:pt>
                <c:pt idx="36">
                  <c:v>1.7794925098213989</c:v>
                </c:pt>
                <c:pt idx="37">
                  <c:v>0</c:v>
                </c:pt>
                <c:pt idx="38">
                  <c:v>0</c:v>
                </c:pt>
                <c:pt idx="39">
                  <c:v>0</c:v>
                </c:pt>
                <c:pt idx="40">
                  <c:v>0</c:v>
                </c:pt>
                <c:pt idx="41">
                  <c:v>2.2922743831121171</c:v>
                </c:pt>
                <c:pt idx="42">
                  <c:v>0.39685483890510381</c:v>
                </c:pt>
                <c:pt idx="43">
                  <c:v>0</c:v>
                </c:pt>
                <c:pt idx="44">
                  <c:v>2.2987878695261892</c:v>
                </c:pt>
                <c:pt idx="45">
                  <c:v>0.53310328427430254</c:v>
                </c:pt>
                <c:pt idx="46">
                  <c:v>0.86440057806425596</c:v>
                </c:pt>
                <c:pt idx="47">
                  <c:v>2.1416509932592909E-3</c:v>
                </c:pt>
                <c:pt idx="48">
                  <c:v>0</c:v>
                </c:pt>
                <c:pt idx="49">
                  <c:v>0</c:v>
                </c:pt>
                <c:pt idx="50">
                  <c:v>0</c:v>
                </c:pt>
                <c:pt idx="51">
                  <c:v>5.5183946488294312E-2</c:v>
                </c:pt>
                <c:pt idx="52">
                  <c:v>6.0135664931825483E-2</c:v>
                </c:pt>
                <c:pt idx="53">
                  <c:v>0.92898913951545525</c:v>
                </c:pt>
                <c:pt idx="54">
                  <c:v>0.44487523013291641</c:v>
                </c:pt>
                <c:pt idx="55">
                  <c:v>0</c:v>
                </c:pt>
                <c:pt idx="56">
                  <c:v>0</c:v>
                </c:pt>
                <c:pt idx="57">
                  <c:v>0</c:v>
                </c:pt>
                <c:pt idx="58">
                  <c:v>0</c:v>
                </c:pt>
                <c:pt idx="59">
                  <c:v>2.62605457765184</c:v>
                </c:pt>
                <c:pt idx="60">
                  <c:v>-0.19122701483892099</c:v>
                </c:pt>
                <c:pt idx="61">
                  <c:v>0</c:v>
                </c:pt>
                <c:pt idx="62">
                  <c:v>0</c:v>
                </c:pt>
                <c:pt idx="63">
                  <c:v>0</c:v>
                </c:pt>
                <c:pt idx="64">
                  <c:v>0</c:v>
                </c:pt>
                <c:pt idx="65">
                  <c:v>0.47877352484274333</c:v>
                </c:pt>
                <c:pt idx="66">
                  <c:v>0</c:v>
                </c:pt>
                <c:pt idx="67">
                  <c:v>0</c:v>
                </c:pt>
                <c:pt idx="68">
                  <c:v>0</c:v>
                </c:pt>
                <c:pt idx="69">
                  <c:v>0</c:v>
                </c:pt>
                <c:pt idx="70">
                  <c:v>0</c:v>
                </c:pt>
                <c:pt idx="71">
                  <c:v>0</c:v>
                </c:pt>
                <c:pt idx="72">
                  <c:v>0</c:v>
                </c:pt>
                <c:pt idx="73">
                  <c:v>0</c:v>
                </c:pt>
                <c:pt idx="74">
                  <c:v>0</c:v>
                </c:pt>
                <c:pt idx="75">
                  <c:v>0</c:v>
                </c:pt>
                <c:pt idx="76">
                  <c:v>0.7357053867086325</c:v>
                </c:pt>
                <c:pt idx="77">
                  <c:v>0</c:v>
                </c:pt>
                <c:pt idx="78">
                  <c:v>0</c:v>
                </c:pt>
                <c:pt idx="79">
                  <c:v>0</c:v>
                </c:pt>
                <c:pt idx="80">
                  <c:v>0</c:v>
                </c:pt>
                <c:pt idx="81">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SCHICK XTREME 3 SENSITIVE GREEN HOLIDAY GIFT PACK 3 BLADE DISPOSABLE SENSITIVE 8CT</c:v>
                  </c:pt>
                  <c:pt idx="7">
                    <c:v>BIC FLEX 5 HYBRID BLACK WHITE HOLIDAY GIFT PACK 5 BLADE HYBRID NORMAL 7CT</c:v>
                  </c:pt>
                  <c:pt idx="8">
                    <c:v>HYDRO 5 SENSITIVE 5 BLADE REFILL SENSITIVE 12CT</c:v>
                  </c:pt>
                  <c:pt idx="9">
                    <c:v>GILLETTE LABS ARCTIC CAMO HOLIDAY GIFT PACK 5 BLADE RAZOR NORMAL 2CT</c:v>
                  </c:pt>
                  <c:pt idx="10">
                    <c:v>DOLLAR SHAVE CLUB BLACK 6 BLADE RAZOR NORMAL 2CT</c:v>
                  </c:pt>
                  <c:pt idx="11">
                    <c:v>GILLETTE FUSION 5 PROGLIDE 5 BLADE RAZOR NORMAL 4CT</c:v>
                  </c:pt>
                  <c:pt idx="12">
                    <c:v>DOLLAR SHAVE CLUB 6 BLADE REFILL NORMAL 4CT</c:v>
                  </c:pt>
                  <c:pt idx="13">
                    <c:v>BIC COMFORT 3 HYBRID 3 BLADE HYBRID SENSITIVE 6CT</c:v>
                  </c:pt>
                  <c:pt idx="14">
                    <c:v>BIC FLEX 5 WHITE BLACK HOLIDAY GIFT PACK 5 BLADE DISPOSABLE NORMAL 6CT</c:v>
                  </c:pt>
                  <c:pt idx="15">
                    <c:v>GILLETTE FUSION 5 5 BLADE RAZOR NORMAL 5CT</c:v>
                  </c:pt>
                  <c:pt idx="16">
                    <c:v>GILLETTE LABS 5 BLADE RAZOR NORMAL 1CT</c:v>
                  </c:pt>
                  <c:pt idx="17">
                    <c:v>BIC FLEX 3 3 BLADE DISPOSABLE NORMAL 2CT</c:v>
                  </c:pt>
                  <c:pt idx="18">
                    <c:v>EQUATE CALIBER 5 5 BLADE DISPOSABLE NORMAL 3CT</c:v>
                  </c:pt>
                  <c:pt idx="19">
                    <c:v>GILLETTE FUSION 5 5 BLADE REFILL NORMAL 8CT</c:v>
                  </c:pt>
                  <c:pt idx="20">
                    <c:v>EQUATE TB (TWIN BLADE) BLUE 2 BLADE DISPOSABLE NORMAL 5CT</c:v>
                  </c:pt>
                  <c:pt idx="21">
                    <c:v>SCHICK XTREME 3 SENSITIVE GREEN 3 BLADE DISPOSABLE SENSITIVE 8CT</c:v>
                  </c:pt>
                  <c:pt idx="22">
                    <c:v>GILLETTE MACH 3 3 BLADE REFILL NORMAL 12CT</c:v>
                  </c:pt>
                  <c:pt idx="23">
                    <c:v>GILLETTE LABS 5 BLADE REFILL NORMAL 6CT</c:v>
                  </c:pt>
                  <c:pt idx="24">
                    <c:v>HYDRO 5 SENSITIVE 5 BLADE RAZOR SENSITIVE 3CT</c:v>
                  </c:pt>
                  <c:pt idx="25">
                    <c:v>SCHICK XTREME 3 SENSITIVE BLACK 3 BLADE DISPOSABLE SENSITIVE 4CT</c:v>
                  </c:pt>
                  <c:pt idx="26">
                    <c:v>SCHICK XTREME 2 SENSITIVE 2 BLADE DISPOSABLE NORMAL 12CT</c:v>
                  </c:pt>
                  <c:pt idx="27">
                    <c:v>DOLLAR SHAVE CLUB 6 BLADE REFILL NORMAL 8CT</c:v>
                  </c:pt>
                  <c:pt idx="28">
                    <c:v>GILLETTE MACH 3 3 BLADE DISPOSABLE SENSITIVE 6CT</c:v>
                  </c:pt>
                  <c:pt idx="29">
                    <c:v>GILLETTE FUSION 5 5 BLADE RAZOR NORMAL 1CT</c:v>
                  </c:pt>
                  <c:pt idx="30">
                    <c:v>HARRY'S 5 BLADE REFILL NORMAL 4CT</c:v>
                  </c:pt>
                  <c:pt idx="31">
                    <c:v>GILLETTE LABS 5 BLADE RAZOR NORMAL 4CT</c:v>
                  </c:pt>
                  <c:pt idx="32">
                    <c:v>SCHICK XTREME 3 SENSITIVE BLACK GREEN 3 BLADE DISPOSABLE SENSITIVE 12CT</c:v>
                  </c:pt>
                  <c:pt idx="33">
                    <c:v>GILLETTE FUSION 5 PROSHIELD GRAY 5 BLADE RAZOR NORMAL 2CT</c:v>
                  </c:pt>
                  <c:pt idx="34">
                    <c:v>EQUATE EASY FIT 5 5 BLADE REFILL NORMAL 8CT</c:v>
                  </c:pt>
                  <c:pt idx="35">
                    <c:v>GILLETTE LABS 5 BLADE RAZOR NORMAL 2CT</c:v>
                  </c:pt>
                  <c:pt idx="36">
                    <c:v>GILLETTE FUSION 5 PROGLIDE STYLER REM BLADES RAZOR 1CT</c:v>
                  </c:pt>
                  <c:pt idx="37">
                    <c:v>GILLETTE MACH 3 3 BLADE RAZOR NORMAL 2CT</c:v>
                  </c:pt>
                  <c:pt idx="38">
                    <c:v>GILLETTE FUSION 5 5 BLADE RAZOR NORMAL 2CT</c:v>
                  </c:pt>
                  <c:pt idx="39">
                    <c:v>BIC FLEX 5 HYBRID 5 BLADE HYBRID NORMAL 4CT</c:v>
                  </c:pt>
                  <c:pt idx="40">
                    <c:v>GILLETTE FUSION 5 5 BLADE RAZOR NORMAL 7CT</c:v>
                  </c:pt>
                  <c:pt idx="41">
                    <c:v>BIC EASYRINSE BLUE 4 BLADE DISPOSABLE NORMAL 2CT</c:v>
                  </c:pt>
                  <c:pt idx="42">
                    <c:v>GILLETTE FUSION 5 PROGLIDE 5 BLADE RAZOR NORMAL 1CT</c:v>
                  </c:pt>
                  <c:pt idx="43">
                    <c:v>BIC FLEX 5 BLACK WHITE 5 BLADE DISPOSABLE NORMAL 2CT</c:v>
                  </c:pt>
                  <c:pt idx="44">
                    <c:v>GILLETTE INTIMATE BLACK 5 BLADE RAZOR NORMAL 2CT</c:v>
                  </c:pt>
                  <c:pt idx="45">
                    <c:v>BIC EASYRINSE 4 BLADE HYBRID NORMAL 3CT</c:v>
                  </c:pt>
                  <c:pt idx="46">
                    <c:v>GILLETTE FUSION 5 PROGLIDE 5 BLADE RAZOR NORMAL 2CT</c:v>
                  </c:pt>
                  <c:pt idx="47">
                    <c:v>EQUATE EASY FIT 5 5 BLADE REFILL NORMAL 4CT</c:v>
                  </c:pt>
                  <c:pt idx="48">
                    <c:v>HARRY'S 5 BLADE REFILL NORMAL 8CT</c:v>
                  </c:pt>
                  <c:pt idx="49">
                    <c:v>GILLETTE MACH 3 3 BLADE REFILL NORMAL 8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0.63660508691021123</c:v>
                </c:pt>
                <c:pt idx="1">
                  <c:v>0.76728058932798959</c:v>
                </c:pt>
                <c:pt idx="2">
                  <c:v>0.21534982182334902</c:v>
                </c:pt>
                <c:pt idx="3">
                  <c:v>0.4800599895758938</c:v>
                </c:pt>
                <c:pt idx="4">
                  <c:v>0.4936541585792204</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0">
                  <c:v>0.36339491308978877</c:v>
                </c:pt>
                <c:pt idx="1">
                  <c:v>0.23271941067201041</c:v>
                </c:pt>
                <c:pt idx="2">
                  <c:v>0.78465017817665095</c:v>
                </c:pt>
                <c:pt idx="3">
                  <c:v>0.5199400104241062</c:v>
                </c:pt>
                <c:pt idx="4">
                  <c:v>0.50634584142077954</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B$2:$B$7</c:f>
              <c:numCache>
                <c:formatCode>General</c:formatCode>
                <c:ptCount val="6"/>
                <c:pt idx="0">
                  <c:v>0.42881235493349873</c:v>
                </c:pt>
                <c:pt idx="1">
                  <c:v>0.76754734284444692</c:v>
                </c:pt>
                <c:pt idx="2">
                  <c:v>4.1633451649207863E-2</c:v>
                </c:pt>
                <c:pt idx="3">
                  <c:v>0.41235092560402192</c:v>
                </c:pt>
                <c:pt idx="4">
                  <c:v>0.89192701516189044</c:v>
                </c:pt>
                <c:pt idx="5">
                  <c:v>0.229573986416958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C$2:$C$7</c:f>
              <c:numCache>
                <c:formatCode>General</c:formatCode>
                <c:ptCount val="6"/>
                <c:pt idx="0">
                  <c:v>0.57118764506650122</c:v>
                </c:pt>
                <c:pt idx="1">
                  <c:v>0.23245265715555308</c:v>
                </c:pt>
                <c:pt idx="2">
                  <c:v>0.95836654835079216</c:v>
                </c:pt>
                <c:pt idx="3">
                  <c:v>0.58764907439597813</c:v>
                </c:pt>
                <c:pt idx="4">
                  <c:v>0.10807298483810956</c:v>
                </c:pt>
                <c:pt idx="5">
                  <c:v>0.7704260135830417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B$2:$B$5</c:f>
              <c:numCache>
                <c:formatCode>General</c:formatCode>
                <c:ptCount val="4"/>
                <c:pt idx="0">
                  <c:v>0.42474603711793024</c:v>
                </c:pt>
                <c:pt idx="1">
                  <c:v>0.61019626426568729</c:v>
                </c:pt>
                <c:pt idx="2">
                  <c:v>0.999862146709253</c:v>
                </c:pt>
                <c:pt idx="3">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C$2:$C$5</c:f>
              <c:numCache>
                <c:formatCode>General</c:formatCode>
                <c:ptCount val="4"/>
                <c:pt idx="0">
                  <c:v>0.57525396288206976</c:v>
                </c:pt>
                <c:pt idx="1">
                  <c:v>0.38980373573431271</c:v>
                </c:pt>
                <c:pt idx="2">
                  <c:v>1.3785329074700314E-4</c:v>
                </c:pt>
                <c:pt idx="3">
                  <c:v>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B$2:$B$6</c:f>
              <c:numCache>
                <c:formatCode>General</c:formatCode>
                <c:ptCount val="5"/>
                <c:pt idx="0">
                  <c:v>2.6621773530429296E-2</c:v>
                </c:pt>
                <c:pt idx="1">
                  <c:v>0.64038562250595621</c:v>
                </c:pt>
                <c:pt idx="2">
                  <c:v>0.60644332995260775</c:v>
                </c:pt>
                <c:pt idx="3">
                  <c:v>0.79763035568945795</c:v>
                </c:pt>
                <c:pt idx="4">
                  <c:v>0.2715122272492984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C$2:$C$6</c:f>
              <c:numCache>
                <c:formatCode>General</c:formatCode>
                <c:ptCount val="5"/>
                <c:pt idx="0">
                  <c:v>0.97337822646957073</c:v>
                </c:pt>
                <c:pt idx="1">
                  <c:v>0.35961437749404379</c:v>
                </c:pt>
                <c:pt idx="2">
                  <c:v>0.39355667004739225</c:v>
                </c:pt>
                <c:pt idx="3">
                  <c:v>0.20236964431054205</c:v>
                </c:pt>
                <c:pt idx="4">
                  <c:v>0.7284877727507015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fld id="{5FF5FCB8-EA7E-422C-A61B-56ABA28F7F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DAF9F66E-D92E-4FF3-85A6-8C72A44E73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EE38B0B8-F1B2-48E7-8469-22FDE48CB9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5F57EC69-A5C9-4308-9EE2-9BCF271E89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2B6DC4E6-6AAC-4C1B-A5F0-B739245FB6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D3CB7931-041F-40F1-BB6D-D530D0D430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F76C202F-2E17-482B-8C14-C1445745F0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3A8E6A14-5085-470E-92EB-F04D90480A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0542CA72-E1B5-42D7-AD47-634448617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5EC6BEA3-45D6-41B9-8B6D-E4D9C9DCCD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551DE569-AB89-444E-9BBD-53311159B6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6B410D98-B5AC-4FC5-BA00-529FA2EF1D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B8956037-898A-40F3-B408-1C824E2E55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9F6C993A-461B-470A-A028-27F8746A3A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9F7C1CC7-9E91-4C46-BBE3-BFAF1DCE0D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C803E9E7-2DE0-42F4-A2B1-354E86532E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9F715D4D-8852-4C50-AE19-F3669D46F1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DB581059-2DCD-4DAF-B85F-5366D0FF4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E246501A-93FF-4D8E-A280-62500BA2A8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A9095F77-ED06-425F-B444-E2E22EAC70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374869CA-FE28-4FB6-B07B-78B69838E1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5BA5BED8-DF95-419C-8ECC-27052A7950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C4AA9DB6-A3F6-4373-A4A4-632247F1A7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564D1B90-ED52-47C6-8E31-D6209ED9AE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D836CB61-4B36-476C-80BC-67A210FF95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43260237-475B-4B77-A524-BCA385CD1A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DEA59F5B-39FD-4CED-932D-7EE0152A21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6048C5FD-CF4C-4650-A915-10B7C0AE23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952413C9-9D12-42F4-88AE-1A9CDEF574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A5D26ADA-B60C-44FF-9528-8F06E82FCB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8039BBC2-7272-4C69-AF9C-5D47DF234F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D7603CCF-72DA-481D-9F21-0EB474AD77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25A4587F-B8CC-4D68-8B1C-12FBD8406A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C680E0C8-6B58-4E9F-B681-C684A404B9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4086F04D-C286-4DB7-B874-D09ABDC73D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424CE754-E1E2-4842-8332-383553B758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6C8CB72F-26DE-42D0-B91E-E9701A57F2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3433AB01-0999-4D1E-940F-EBB5D1FE72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1</c:v>
                </c:pt>
                <c:pt idx="1">
                  <c:v>0.1</c:v>
                </c:pt>
                <c:pt idx="2">
                  <c:v>0.09</c:v>
                </c:pt>
                <c:pt idx="3">
                  <c:v>0.15</c:v>
                </c:pt>
                <c:pt idx="4">
                  <c:v>0.16</c:v>
                </c:pt>
                <c:pt idx="5">
                  <c:v>0.15</c:v>
                </c:pt>
                <c:pt idx="6">
                  <c:v>0.63</c:v>
                </c:pt>
                <c:pt idx="7">
                  <c:v>0.32</c:v>
                </c:pt>
                <c:pt idx="8">
                  <c:v>0.18</c:v>
                </c:pt>
                <c:pt idx="9">
                  <c:v>0.09</c:v>
                </c:pt>
              </c:numCache>
            </c:numRef>
          </c:xVal>
          <c:yVal>
            <c:numRef>
              <c:f>Sheet1!$B$2:$B$11</c:f>
              <c:numCache>
                <c:formatCode>General</c:formatCode>
                <c:ptCount val="10"/>
                <c:pt idx="0">
                  <c:v>0.41971844948119458</c:v>
                </c:pt>
                <c:pt idx="1">
                  <c:v>0.32321333425762577</c:v>
                </c:pt>
                <c:pt idx="2">
                  <c:v>0.23920180796808771</c:v>
                </c:pt>
                <c:pt idx="3">
                  <c:v>0.49380320527335569</c:v>
                </c:pt>
                <c:pt idx="4">
                  <c:v>0.57084878338506662</c:v>
                </c:pt>
                <c:pt idx="5">
                  <c:v>0.81179470441236323</c:v>
                </c:pt>
                <c:pt idx="6">
                  <c:v>0.83772084414568115</c:v>
                </c:pt>
                <c:pt idx="7">
                  <c:v>0.883084064382609</c:v>
                </c:pt>
                <c:pt idx="8">
                  <c:v>1.5836045021710721</c:v>
                </c:pt>
                <c:pt idx="9">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FUSION 5 PROGLIDE 5 BLADE RAZOR NORMAL 13CT</c:v>
                  </c:pt>
                  <c:pt idx="3">
                    <c:v>GILLETTE SKINGUARD POWER 2 BLADE REFILL SENSITIVE 13CT</c:v>
                  </c:pt>
                  <c:pt idx="4">
                    <c:v>GILLETTE FUSION 5 5 BLADE RAZOR NORMAL 9CT</c:v>
                  </c:pt>
                  <c:pt idx="5">
                    <c:v>HARRY'S ORANGE 5 BLADE RAZOR NORMAL 11CT</c:v>
                  </c:pt>
                  <c:pt idx="6">
                    <c:v>GILLETTE INTIMATE BLACK 5 BLADE RAZOR 9CT</c:v>
                  </c:pt>
                  <c:pt idx="7">
                    <c:v>GILLETTE FUSION 5 PROGLIDE 5 BLADE REFILL NORMAL 15CT</c:v>
                  </c:pt>
                  <c:pt idx="8">
                    <c:v>GILLETTE LABS 5 BLADE RAZOR NORMAL 6CT</c:v>
                  </c:pt>
                  <c:pt idx="9">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B1738E11-397A-4F44-B61F-6E11314F8D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82F1AA2F-4C4A-4561-B335-449AAECBA9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97DF0F6F-01C0-45A6-8C54-53103DD769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AED23AAC-69AD-484C-A889-1BEAA5F4F8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945E74F4-7725-4BA2-86A8-6EBF14DD30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FDDAD37F-F0C6-4639-B188-FF92102726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4A5483DE-A93F-4BAA-9462-8C5346A888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DB20E4DB-5EBB-4CD9-B1EC-354E6676DF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253BEE2F-9DEB-4CCE-9091-5A73EB2F7D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9870FAA2-571E-4742-B65D-0B79F21837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1A51501E-C973-42FD-AAE8-151F3AB4A5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328693E2-921D-4183-93D3-8EE0A253B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7D89480-FAC1-47F7-8594-6C535FB577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24B175C3-6DE5-4E82-A4FF-DF28A6BE3B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2B0B3054-44A5-47C2-A78F-EDEF863319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EDD98D0F-3089-42FE-A49C-9806CAC8FF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CE2F9868-933E-4A50-A973-882CCAE0FE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40C1E398-8ED3-49A6-B991-FBDE75B61B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16EB2FA4-5F06-4673-9511-E4CBDE145B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759D7523-AA11-4AD5-B425-E9F21ED60F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97AF4E57-10D5-4A7F-A9B2-DFEBD96B2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1F88CF9-C217-4FE6-BB82-E7D912F1D8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5EA2639C-FA89-4EF3-A9F7-5BD15EEA62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2D7016BA-8817-4027-A2C2-9A4D13BC9C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750C7C7E-7DF2-4D87-AA9E-6078C40166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47A46C27-8FFA-4929-B8EF-98E70B2C5C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58756C14-8354-44B0-BABD-105ABA930C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F6CF7C09-A677-4E4A-8EF8-CB267544B9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3FF8CC45-97BE-4AB5-AF51-09970ED541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1987004C-80B4-4508-B6D6-A8D4EDC635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0320F40F-DCDA-4A3A-9B62-516359EFB9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1D2E7094-B0B1-43B6-B10E-BC9B7A81D3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DF3497B5-96ED-43D1-9AFA-F23250C5B3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543FFF7A-4F43-4DEE-8A4E-2BBAD70AB1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928CDD88-1C85-4C38-923F-71A40F14BC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50A4CD0D-6101-437A-A516-6EF38FCFD2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04B586B7-AA4F-4E1B-8B46-F8F7DA673E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689C213-5D1B-403E-B0E3-434903AED5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4CFC2D47-C8CA-4DC4-B388-589DC170B1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D5CAEA2-1570-4F74-B348-165AA76202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79420935-0233-4F37-B28B-DB929F2E17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72</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BIC FLEX 5 HYBRID 5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FLEX 5 HYBRID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BIC COMFORT 3 HYBRID 3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6AB-4F68-BCD3-7FB46F5A80C1}"/>
                </c:ext>
              </c:extLst>
            </c:dLbl>
            <c:dLbl>
              <c:idx val="51"/>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6AB-4F68-BCD3-7FB46F5A80C1}"/>
                </c:ext>
              </c:extLst>
            </c:dLbl>
            <c:dLbl>
              <c:idx val="52"/>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6AB-4F68-BCD3-7FB46F5A80C1}"/>
                </c:ext>
              </c:extLst>
            </c:dLbl>
            <c:dLbl>
              <c:idx val="53"/>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6AB-4F68-BCD3-7FB46F5A80C1}"/>
                </c:ext>
              </c:extLst>
            </c:dLbl>
            <c:dLbl>
              <c:idx val="54"/>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6AB-4F68-BCD3-7FB46F5A80C1}"/>
                </c:ext>
              </c:extLst>
            </c:dLbl>
            <c:dLbl>
              <c:idx val="55"/>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6AB-4F68-BCD3-7FB46F5A80C1}"/>
                </c:ext>
              </c:extLst>
            </c:dLbl>
            <c:dLbl>
              <c:idx val="56"/>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6AB-4F68-BCD3-7FB46F5A80C1}"/>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8</c:f>
              <c:numCache>
                <c:formatCode>General</c:formatCode>
                <c:ptCount val="57"/>
                <c:pt idx="0">
                  <c:v>0.16</c:v>
                </c:pt>
                <c:pt idx="1">
                  <c:v>0.11</c:v>
                </c:pt>
                <c:pt idx="2">
                  <c:v>0.1</c:v>
                </c:pt>
                <c:pt idx="3">
                  <c:v>7.0000000000000007E-2</c:v>
                </c:pt>
                <c:pt idx="4">
                  <c:v>0.14000000000000001</c:v>
                </c:pt>
                <c:pt idx="5">
                  <c:v>0.14000000000000001</c:v>
                </c:pt>
                <c:pt idx="6">
                  <c:v>0.06</c:v>
                </c:pt>
                <c:pt idx="7">
                  <c:v>0.11</c:v>
                </c:pt>
                <c:pt idx="8">
                  <c:v>0.19</c:v>
                </c:pt>
                <c:pt idx="9">
                  <c:v>0.03</c:v>
                </c:pt>
                <c:pt idx="10">
                  <c:v>0.45</c:v>
                </c:pt>
                <c:pt idx="11">
                  <c:v>0.03</c:v>
                </c:pt>
                <c:pt idx="12">
                  <c:v>0.11</c:v>
                </c:pt>
                <c:pt idx="13">
                  <c:v>0.02</c:v>
                </c:pt>
                <c:pt idx="14">
                  <c:v>0.14000000000000001</c:v>
                </c:pt>
                <c:pt idx="15">
                  <c:v>0.04</c:v>
                </c:pt>
                <c:pt idx="16">
                  <c:v>0.35</c:v>
                </c:pt>
                <c:pt idx="17">
                  <c:v>0.1</c:v>
                </c:pt>
                <c:pt idx="18">
                  <c:v>0.12</c:v>
                </c:pt>
                <c:pt idx="19">
                  <c:v>0.04</c:v>
                </c:pt>
                <c:pt idx="20">
                  <c:v>0.39</c:v>
                </c:pt>
                <c:pt idx="21">
                  <c:v>0.01</c:v>
                </c:pt>
                <c:pt idx="22">
                  <c:v>0.47</c:v>
                </c:pt>
                <c:pt idx="23">
                  <c:v>0.47</c:v>
                </c:pt>
                <c:pt idx="24">
                  <c:v>0.39</c:v>
                </c:pt>
                <c:pt idx="25">
                  <c:v>0.46</c:v>
                </c:pt>
                <c:pt idx="26">
                  <c:v>0.54</c:v>
                </c:pt>
                <c:pt idx="27">
                  <c:v>0.28999999999999998</c:v>
                </c:pt>
                <c:pt idx="28">
                  <c:v>0.03</c:v>
                </c:pt>
                <c:pt idx="29">
                  <c:v>0.01</c:v>
                </c:pt>
                <c:pt idx="30">
                  <c:v>0.09</c:v>
                </c:pt>
                <c:pt idx="31">
                  <c:v>0.45</c:v>
                </c:pt>
                <c:pt idx="32">
                  <c:v>0.65</c:v>
                </c:pt>
                <c:pt idx="33">
                  <c:v>0.4</c:v>
                </c:pt>
                <c:pt idx="34">
                  <c:v>0.39</c:v>
                </c:pt>
                <c:pt idx="35">
                  <c:v>0.1</c:v>
                </c:pt>
                <c:pt idx="36">
                  <c:v>0.09</c:v>
                </c:pt>
                <c:pt idx="37">
                  <c:v>0.11</c:v>
                </c:pt>
                <c:pt idx="38">
                  <c:v>0.03</c:v>
                </c:pt>
                <c:pt idx="39">
                  <c:v>0.2</c:v>
                </c:pt>
                <c:pt idx="40">
                  <c:v>0.12</c:v>
                </c:pt>
                <c:pt idx="41">
                  <c:v>0.01</c:v>
                </c:pt>
                <c:pt idx="42">
                  <c:v>0.04</c:v>
                </c:pt>
                <c:pt idx="43">
                  <c:v>0.66</c:v>
                </c:pt>
                <c:pt idx="44">
                  <c:v>0.36</c:v>
                </c:pt>
                <c:pt idx="45">
                  <c:v>0.11</c:v>
                </c:pt>
                <c:pt idx="46">
                  <c:v>0.28000000000000003</c:v>
                </c:pt>
                <c:pt idx="47">
                  <c:v>0.12</c:v>
                </c:pt>
                <c:pt idx="48">
                  <c:v>0.54</c:v>
                </c:pt>
                <c:pt idx="49">
                  <c:v>0.26</c:v>
                </c:pt>
                <c:pt idx="50">
                  <c:v>0.08</c:v>
                </c:pt>
                <c:pt idx="51">
                  <c:v>0.18</c:v>
                </c:pt>
                <c:pt idx="52">
                  <c:v>0.16</c:v>
                </c:pt>
                <c:pt idx="53">
                  <c:v>0.14000000000000001</c:v>
                </c:pt>
                <c:pt idx="54">
                  <c:v>0.57999999999999996</c:v>
                </c:pt>
                <c:pt idx="55">
                  <c:v>0.08</c:v>
                </c:pt>
                <c:pt idx="56">
                  <c:v>0.01</c:v>
                </c:pt>
              </c:numCache>
            </c:numRef>
          </c:xVal>
          <c:yVal>
            <c:numRef>
              <c:f>Sheet1!$B$2:$B$58</c:f>
              <c:numCache>
                <c:formatCode>General</c:formatCode>
                <c:ptCount val="57"/>
                <c:pt idx="0">
                  <c:v>1.312053273286643</c:v>
                </c:pt>
                <c:pt idx="1">
                  <c:v>0.67602970542929453</c:v>
                </c:pt>
                <c:pt idx="2">
                  <c:v>0.28036068611811321</c:v>
                </c:pt>
                <c:pt idx="3">
                  <c:v>2.322914669885693E-2</c:v>
                </c:pt>
                <c:pt idx="4">
                  <c:v>1.15044401511685</c:v>
                </c:pt>
                <c:pt idx="5">
                  <c:v>0.45428332366686403</c:v>
                </c:pt>
                <c:pt idx="6">
                  <c:v>0.45219100593391298</c:v>
                </c:pt>
                <c:pt idx="7">
                  <c:v>8.8637819366076523E-2</c:v>
                </c:pt>
                <c:pt idx="8">
                  <c:v>1.313920192130057</c:v>
                </c:pt>
                <c:pt idx="9">
                  <c:v>0.15600012891003129</c:v>
                </c:pt>
                <c:pt idx="10">
                  <c:v>1.2051359733489531</c:v>
                </c:pt>
                <c:pt idx="11">
                  <c:v>5.2758507112676142E-2</c:v>
                </c:pt>
                <c:pt idx="12">
                  <c:v>0.2181542191916945</c:v>
                </c:pt>
                <c:pt idx="13">
                  <c:v>0</c:v>
                </c:pt>
                <c:pt idx="14">
                  <c:v>0.31284334569805361</c:v>
                </c:pt>
                <c:pt idx="15">
                  <c:v>0</c:v>
                </c:pt>
                <c:pt idx="16">
                  <c:v>0.37892159394589803</c:v>
                </c:pt>
                <c:pt idx="17">
                  <c:v>0.51540924912371144</c:v>
                </c:pt>
                <c:pt idx="18">
                  <c:v>0</c:v>
                </c:pt>
                <c:pt idx="19">
                  <c:v>2.5617209633611041E-2</c:v>
                </c:pt>
                <c:pt idx="20">
                  <c:v>0.60985348269802508</c:v>
                </c:pt>
                <c:pt idx="21">
                  <c:v>0</c:v>
                </c:pt>
                <c:pt idx="22">
                  <c:v>0.98571760573774991</c:v>
                </c:pt>
                <c:pt idx="23">
                  <c:v>1.2512478823607049</c:v>
                </c:pt>
                <c:pt idx="24">
                  <c:v>0.34438555153868777</c:v>
                </c:pt>
                <c:pt idx="25">
                  <c:v>0.95133552575640024</c:v>
                </c:pt>
                <c:pt idx="26">
                  <c:v>1.7794925098213989</c:v>
                </c:pt>
                <c:pt idx="27">
                  <c:v>0</c:v>
                </c:pt>
                <c:pt idx="28">
                  <c:v>0</c:v>
                </c:pt>
                <c:pt idx="29">
                  <c:v>0</c:v>
                </c:pt>
                <c:pt idx="30">
                  <c:v>0</c:v>
                </c:pt>
                <c:pt idx="31">
                  <c:v>0.39685483890510381</c:v>
                </c:pt>
                <c:pt idx="32">
                  <c:v>2.2987878695261892</c:v>
                </c:pt>
                <c:pt idx="33">
                  <c:v>0.53310328427430254</c:v>
                </c:pt>
                <c:pt idx="34">
                  <c:v>0.86440057806425596</c:v>
                </c:pt>
                <c:pt idx="35">
                  <c:v>2.1416509932592909E-3</c:v>
                </c:pt>
                <c:pt idx="36">
                  <c:v>0</c:v>
                </c:pt>
                <c:pt idx="37">
                  <c:v>0</c:v>
                </c:pt>
                <c:pt idx="38">
                  <c:v>0</c:v>
                </c:pt>
                <c:pt idx="39">
                  <c:v>0.44487523013291641</c:v>
                </c:pt>
                <c:pt idx="40">
                  <c:v>0</c:v>
                </c:pt>
                <c:pt idx="41">
                  <c:v>0</c:v>
                </c:pt>
                <c:pt idx="42">
                  <c:v>0</c:v>
                </c:pt>
                <c:pt idx="43">
                  <c:v>2.62605457765184</c:v>
                </c:pt>
                <c:pt idx="44">
                  <c:v>0</c:v>
                </c:pt>
                <c:pt idx="45">
                  <c:v>0</c:v>
                </c:pt>
                <c:pt idx="46">
                  <c:v>0</c:v>
                </c:pt>
                <c:pt idx="47">
                  <c:v>0</c:v>
                </c:pt>
                <c:pt idx="48">
                  <c:v>0.47877352484274333</c:v>
                </c:pt>
                <c:pt idx="49">
                  <c:v>0</c:v>
                </c:pt>
                <c:pt idx="50">
                  <c:v>0</c:v>
                </c:pt>
                <c:pt idx="51">
                  <c:v>0</c:v>
                </c:pt>
                <c:pt idx="52">
                  <c:v>0</c:v>
                </c:pt>
                <c:pt idx="53">
                  <c:v>0</c:v>
                </c:pt>
                <c:pt idx="54">
                  <c:v>0.7357053867086325</c:v>
                </c:pt>
                <c:pt idx="55">
                  <c:v>0</c:v>
                </c:pt>
                <c:pt idx="56">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BIC FLEX 5 HYBRID BLACK WHITE HOLIDAY GIFT PACK 5 BLADE HYBRID NORMAL 7CT</c:v>
                  </c:pt>
                  <c:pt idx="7">
                    <c:v>HYDRO 5 SENSITIVE 5 BLADE REFILL SENSITIVE 12CT</c:v>
                  </c:pt>
                  <c:pt idx="8">
                    <c:v>GILLETTE LABS ARCTIC CAMO HOLIDAY GIFT PACK 5 BLADE RAZOR NORMAL 2CT</c:v>
                  </c:pt>
                  <c:pt idx="9">
                    <c:v>DOLLAR SHAVE CLUB BLACK 6 BLADE RAZOR NORMAL 2CT</c:v>
                  </c:pt>
                  <c:pt idx="10">
                    <c:v>GILLETTE FUSION 5 PROGLIDE 5 BLADE RAZOR NORMAL 4CT</c:v>
                  </c:pt>
                  <c:pt idx="11">
                    <c:v>DOLLAR SHAVE CLUB 6 BLADE REFILL NORMAL 4CT</c:v>
                  </c:pt>
                  <c:pt idx="12">
                    <c:v>BIC COMFORT 3 HYBRID 3 BLADE HYBRID SENSITIVE 6CT</c:v>
                  </c:pt>
                  <c:pt idx="13">
                    <c:v>GILLETTE FUSION 5 5 BLADE RAZOR NORMAL 5CT</c:v>
                  </c:pt>
                  <c:pt idx="14">
                    <c:v>GILLETTE LABS 5 BLADE RAZOR NORMAL 1CT</c:v>
                  </c:pt>
                  <c:pt idx="15">
                    <c:v>GILLETTE FUSION 5 5 BLADE REFILL NORMAL 8CT</c:v>
                  </c:pt>
                  <c:pt idx="16">
                    <c:v>GILLETTE MACH 3 3 BLADE REFILL NORMAL 12CT</c:v>
                  </c:pt>
                  <c:pt idx="17">
                    <c:v>GILLETTE LABS 5 BLADE REFILL NORMAL 6CT</c:v>
                  </c:pt>
                  <c:pt idx="18">
                    <c:v>HYDRO 5 SENSITIVE 5 BLADE RAZOR SENSITIVE 3CT</c:v>
                  </c:pt>
                  <c:pt idx="19">
                    <c:v>DOLLAR SHAVE CLUB 6 BLADE REFILL NORMAL 8CT</c:v>
                  </c:pt>
                  <c:pt idx="20">
                    <c:v>GILLETTE FUSION 5 5 BLADE RAZOR NORMAL 1CT</c:v>
                  </c:pt>
                  <c:pt idx="21">
                    <c:v>HARRY'S 5 BLADE REFILL NORMAL 4CT</c:v>
                  </c:pt>
                  <c:pt idx="22">
                    <c:v>GILLETTE LABS 5 BLADE RAZOR NORMAL 4CT</c:v>
                  </c:pt>
                  <c:pt idx="23">
                    <c:v>GILLETTE FUSION 5 PROSHIELD GRAY 5 BLADE RAZOR NORMAL 2CT</c:v>
                  </c:pt>
                  <c:pt idx="24">
                    <c:v>EQUATE EASY FIT 5 5 BLADE REFILL NORMAL 8CT</c:v>
                  </c:pt>
                  <c:pt idx="25">
                    <c:v>GILLETTE LABS 5 BLADE RAZOR NORMAL 2CT</c:v>
                  </c:pt>
                  <c:pt idx="26">
                    <c:v>GILLETTE FUSION 5 PROGLIDE STYLER REM BLADES RAZOR 1CT</c:v>
                  </c:pt>
                  <c:pt idx="27">
                    <c:v>GILLETTE MACH 3 3 BLADE RAZOR NORMAL 2CT</c:v>
                  </c:pt>
                  <c:pt idx="28">
                    <c:v>GILLETTE FUSION 5 5 BLADE RAZOR NORMAL 2CT</c:v>
                  </c:pt>
                  <c:pt idx="29">
                    <c:v>BIC FLEX 5 HYBRID 5 BLADE HYBRID NORMAL 4CT</c:v>
                  </c:pt>
                  <c:pt idx="30">
                    <c:v>GILLETTE FUSION 5 5 BLADE RAZOR NORMAL 7CT</c:v>
                  </c:pt>
                  <c:pt idx="31">
                    <c:v>GILLETTE FUSION 5 PROGLIDE 5 BLADE RAZOR NORMAL 1CT</c:v>
                  </c:pt>
                  <c:pt idx="32">
                    <c:v>GILLETTE INTIMATE BLACK 5 BLADE RAZOR NORMAL 2CT</c:v>
                  </c:pt>
                  <c:pt idx="33">
                    <c:v>BIC EASYRINSE 4 BLADE HYBRID NORMAL 3CT</c:v>
                  </c:pt>
                  <c:pt idx="34">
                    <c:v>GILLETTE FUSION 5 PROGLIDE 5 BLADE RAZOR NORMAL 2CT</c:v>
                  </c:pt>
                  <c:pt idx="35">
                    <c:v>EQUATE EASY FIT 5 5 BLADE REFILL NORMAL 4CT</c:v>
                  </c:pt>
                  <c:pt idx="36">
                    <c:v>HARRY'S 5 BLADE REFILL NORMAL 8CT</c:v>
                  </c:pt>
                  <c:pt idx="37">
                    <c:v>GILLETTE MACH 3 3 BLADE REFILL NORMAL 8CT</c:v>
                  </c:pt>
                  <c:pt idx="38">
                    <c:v>HARRY'S SURF BLUE 5 BLADE RAZOR NORMAL 2CT</c:v>
                  </c:pt>
                  <c:pt idx="39">
                    <c:v>EQUATE EASY FIT 5 5 BLADE REFILL NORMAL 12CT</c:v>
                  </c:pt>
                  <c:pt idx="40">
                    <c:v>EQUATE EASY FIT 5 5 BLADE RAZOR NORMAL 2CT</c:v>
                  </c:pt>
                  <c:pt idx="41">
                    <c:v>HARRY'S SILVER 5 BLADE RAZOR NORMAL 5CT</c:v>
                  </c:pt>
                  <c:pt idx="42">
                    <c:v>GILLETTE FUSION 5 5 BLADE REFILL NORMAL 4CT</c:v>
                  </c:pt>
                  <c:pt idx="43">
                    <c:v>GILLETTE INTIMATE 5 BLADE REFILL NORMAL 4CT</c:v>
                  </c:pt>
                  <c:pt idx="44">
                    <c:v>BIC FLEX 5 HYBRID 5 BLADE HYBRID NORMAL 12CT</c:v>
                  </c:pt>
                  <c:pt idx="45">
                    <c:v>BIC FLEX 5 HYBRID 5 BLADE HYBRID NORMAL 7CT</c:v>
                  </c:pt>
                  <c:pt idx="46">
                    <c:v>GILLETTE FUSION 5 5 BLADE REFILL NORMAL 12CT</c:v>
                  </c:pt>
                  <c:pt idx="47">
                    <c:v>HARRY'S 5 BLADE REFILL NORMAL 12CT</c:v>
                  </c:pt>
                  <c:pt idx="48">
                    <c:v>GILLETTE SKINGUARD 2 BLADE REFILL SENSITIVE 8CT</c:v>
                  </c:pt>
                  <c:pt idx="49">
                    <c:v>BIC COMFORT 3 HYBRID 3 BLADE HYBRID NORMAL 1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86EB1F71-F134-4D76-83BC-73C6C6A993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92C7538D-ACF1-4162-8039-7D1583DF24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811546E4-1423-4B9C-81D8-77AA27DA6F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86E9E59C-FA80-4A14-BF61-05203F5586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21760EDC-932C-4352-9DB3-A93AAD63A1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057B1A11-02A8-475C-A09E-51DE54B685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9B14640E-417F-4E61-8FCC-549ADDC730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1996FFCE-F9F9-477E-910F-BF86D9A8A1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E1B98F5C-2806-4269-908C-D16EA298BE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6C8851E3-3566-4364-9049-0610805FB7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45AA2B3E-5D56-486E-8650-FD2BC1134B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FE06664E-DF4E-46D5-B571-70362627FE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D74925B5-F925-4514-9605-FF5CDCBED0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9B8AF712-E343-4F0B-A821-8273DB598A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BF4A7A6A-F1D2-435B-B6CA-39A48EF992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95C025D1-1196-4D68-B813-772CAE1E0D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586651E1-C0F4-42E5-B32D-5C5B1CBD1C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D38C8CC0-0735-40CE-B503-7A1FC2D0B7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313D3926-66C5-4FB0-AC96-F6582ACB71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9A4D1302-748E-4A50-8E79-E744E2D268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22152495-1A2B-415E-A391-930D551F27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24B8ECDF-23A6-4E3C-BEC9-DE8AC89E38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61B093DC-071D-40CA-AD9A-7CA724B9BC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E635C7B9-1645-4EDC-BA35-FD3C66528F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04467FD7-9E51-47EB-A2B3-D2F1F496B3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763E8ED6-FF22-42A0-8D5B-43AB9D8610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770A92A7-1C7F-4D04-86CE-2F173A3C9C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0CFAE3CA-5624-43DA-B750-C50F9543BC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1ECFE8FF-A165-4485-A563-EFBFD69242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4086F4E6-8D3C-47F3-9ED8-20BFF8A105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41BF2510-6866-4B54-B84D-C91D637789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3070DD19-7BC7-4204-BAAD-884241DD6E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B2381442-D353-45F5-9339-D6BEEE489D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142513AD-DF31-4D07-BB90-C6E31CE2AA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EF197F73-0990-4545-9D80-041B59ED9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A8A4E48-B336-4547-A417-4CB81449B7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C46BCB2E-1E7C-4CEE-85FD-B760F119E8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B4530467-699F-4AAF-8F7D-25BCB99495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4CA858DA-237C-4957-9932-6E1163FF7F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90A35394-664A-4498-B4FE-843981DC94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2B2A8E07-BBE5-4DEF-BA39-87BCF1EB5A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530EAA93-4501-4668-88BB-080287187F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225AC2A4-2D7A-4171-84E8-7F6907E0FA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97361FF2-AE27-4E86-A4E8-174330E741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E854F2A-9976-4FC5-A89A-32E8200CB6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1E40C5D6-6B56-4670-A481-F6C034B36F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6D549905-16E6-4092-9F9B-36ACD354AB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58A26A11-227F-4894-A003-89610812DF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42568048-94D4-4FDB-B41F-B6A011488F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D61F8E38-B85D-4350-B52A-3F4B70C3CC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6E0E04E2-CB87-46D7-B199-7CACE1AA58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AB34B364-C4CF-4DF0-819C-FA21DA1C9A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615BE9CA-84B1-4B83-BC3F-EDB0E7775C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0C07031E-6680-4351-88DF-BDF7FB906E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82E383EF-6A05-444A-883F-3A0F529C30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EB415CE1-DDCC-4273-9FD8-210E18A578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CC34639F-9475-4DAC-A3BA-37E1D7ABE6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0121CD3A-E8AB-42D3-82EB-2D098D897E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12C780DE-C7C3-4927-8E76-32B4D8A096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999FE326-53B0-4F42-8DBA-C1E8119572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94076348-2C5D-48AD-BE14-BF0BC99ABD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2BAA621A-01FB-4BF2-A0B3-E568AEE26B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7CA2F55D-69A4-4B16-880C-61676BEE0A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5BF852A7-4D8D-4D11-931B-5CD11F990B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72</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B6556584-5FEC-4C86-9D4C-029BD017B7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2B00DA54-E0AB-4862-BB71-C099E70DFF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68BE3A16-2072-4FCD-A359-134B27137C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2B00F81D-B327-4281-8F96-B0ADDB4A6F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08E2FC56-4F6E-473F-AFFC-F1C86457F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218F3755-C84E-4C58-AC39-864B8EA4DA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9718F7D5-49CC-411D-B93A-6FEACA03E4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C21830DE-8415-4013-A372-31C06D7A37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45CB4DB8-C45E-4A0D-BF9F-9912887E31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E053E208-EE37-4253-9160-57CDF6100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84A04390-3AAF-4E6A-8341-6083DDC8B1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6BC4338C-77D5-472B-8B49-56FB280303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F94E2E1F-B922-4630-BDC8-79E4BE236F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95BE314A-53C7-4E7F-9EBC-2EB001A8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868A707-4383-4B84-B18E-D4E2A3BF82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E1BD0D7C-19E5-4CF9-9840-91A6B2BCA9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533B4A13-B488-4F80-B366-FDE3924771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A13AE6A2-9DBF-4BD1-8A4C-F8674171F5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D28D8843-9AF2-425D-8015-0AC08C0E79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5AE0811D-041E-4F12-BD7D-FDF8DE2661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588D863C-D994-4311-909D-CCA124D76A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4FD84084-EA8E-4B91-8058-AFEAB9AEF1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41524E4F-57AD-4638-B9D4-ABCBF0A66A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57D4A0A4-E365-484A-A1D4-8A70529622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970DDC4B-CCD4-4F71-A021-FDB2B4CCF9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CE26355E-F4E5-4CB1-BD94-17359FE903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6EB0BA17-6556-4FF5-B32B-0EEED3DADE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153255AE-E186-4CEF-856C-AF5C4ED107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3BEEC023-864E-4C03-A41C-6D62EB291C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1801CDB-E78A-4F41-AA39-B7929F7677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D9DFE8C9-5F97-4F7F-B109-2B6B5B0202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3351C224-4A08-40BE-88AF-27B49586A5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22306DB1-BB51-4FB1-9788-FA91A60E1E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A0964AE7-C7FF-47B9-8C34-D032E2F307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D27A9271-C6FC-4D37-B464-760FB4BE3B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64A7FF87-AB22-476C-8037-F28A3DF927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F7CA002C-4341-47C1-B969-77F3B1B29E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15653C9B-268B-4C06-81E9-F2ABB2DB80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17376930-BD71-4DE9-923E-30C558C47C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486277D1-EB73-4A30-BF8C-8738E90E7C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DC1C4468-340C-4001-B7A2-99BFEB6AC5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5CFC790E-1054-461B-9259-6E9538407E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E0194674-A042-457F-8052-B45E5FC2B5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9</c:v>
                </c:pt>
                <c:pt idx="1">
                  <c:v>0.16</c:v>
                </c:pt>
                <c:pt idx="2">
                  <c:v>0.15</c:v>
                </c:pt>
                <c:pt idx="3">
                  <c:v>0.63</c:v>
                </c:pt>
                <c:pt idx="4">
                  <c:v>0.18</c:v>
                </c:pt>
              </c:numCache>
            </c:numRef>
          </c:xVal>
          <c:yVal>
            <c:numRef>
              <c:f>Sheet1!$B$2:$B$6</c:f>
              <c:numCache>
                <c:formatCode>General</c:formatCode>
                <c:ptCount val="5"/>
                <c:pt idx="0">
                  <c:v>0.23920180796808771</c:v>
                </c:pt>
                <c:pt idx="1">
                  <c:v>0.57084878338506662</c:v>
                </c:pt>
                <c:pt idx="2">
                  <c:v>0.81179470441236323</c:v>
                </c:pt>
                <c:pt idx="3">
                  <c:v>0.83772084414568115</c:v>
                </c:pt>
                <c:pt idx="4">
                  <c:v>1.5836045021710721</c:v>
                </c:pt>
              </c:numCache>
            </c:numRef>
          </c:yVal>
          <c:smooth val="0"/>
          <c:extLst>
            <c:ext xmlns:c15="http://schemas.microsoft.com/office/drawing/2012/chart" uri="{02D57815-91ED-43cb-92C2-25804820EDAC}">
              <c15:datalabelsRange>
                <c15:f>Sheet1!$E$2:$E$51</c15:f>
                <c15:dlblRangeCache>
                  <c:ptCount val="50"/>
                  <c:pt idx="0">
                    <c:v>GILLETTE FUSION 5 PROGLIDE 5 BLADE RAZOR NORMAL 13CT</c:v>
                  </c:pt>
                  <c:pt idx="1">
                    <c:v>GILLETTE FUSION 5 5 BLADE RAZOR NORMAL 9CT</c:v>
                  </c:pt>
                  <c:pt idx="2">
                    <c:v>HARRY'S ORANGE 5 BLADE RAZOR NORMAL 11CT</c:v>
                  </c:pt>
                  <c:pt idx="3">
                    <c:v>GILLETTE INTIMATE BLACK 5 BLADE RAZOR 9CT</c:v>
                  </c:pt>
                  <c:pt idx="4">
                    <c:v>GILLETTE LABS 5 BLADE RAZOR NORMAL 6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0.19136144637447017"/>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344A9647-1EEF-436B-B3A2-5EFAA8349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74FF857D-D809-43FB-8117-0042F51EA8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F5FD0133-FFB7-4057-82CB-85D8BCCC52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FB5AB732-CA8F-434B-A728-FA6A6818B6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2C85A5CE-7D74-4EDB-9659-D9356119B8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F1BB151D-E43C-451A-A868-50D8891140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D21D3D7B-B36C-42CA-B90F-FAD8053EB4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A54660B4-F5DF-4795-A262-3EBCC93CE9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29206CA7-C686-488C-B7C6-2FD042EE4E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F4C266EB-571C-4BFF-BE27-E879EE71AB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6D8395D2-A2BF-4D61-BAC3-E394836F92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B8351814-4340-494C-8AF2-5F2D9BE1E4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0D017C7F-BA03-45F5-A551-F356F1428F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1550F9BD-270A-40F6-8DC2-3A2018962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815B370-F2A3-4A41-AC35-1A853B8454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AE9C7C70-E996-4F80-8792-CFC8C580C9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32D33433-FF69-42F6-9C1E-365CF7D6FC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B83DDB53-7297-4AF8-B249-2ED2989C0D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89BDEF83-1A85-4C6C-9646-1BD88DA510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29D7E967-D87B-47EC-A504-D4823760A7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4E5E0A9F-1638-49F8-8A1E-C813410A45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DD2899E6-8AD2-454B-9B82-2A19610E2E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0F20DE31-C4B6-4CF9-97DE-D23C0FD548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A8EB151-AE4E-44A6-989A-8671E9FF7E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F484FEAC-FEB4-4A15-AC94-77387446A9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8CAE006E-4B53-4991-8F1C-17C828A62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DAEFA1D7-C75F-4079-BD93-9C8C1627EB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4D13EE5B-0263-426F-8840-A65FE39207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9B549216-5608-4540-923D-E739421D3E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7F781F81-49A2-4CB4-8D4F-0E20D413F1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95B6E095-7446-441C-A20D-75EEB84C9C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53399A81-BBD6-428A-AE92-14545071E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38D2F58-0438-4D93-939E-6BF0E52D14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FFF29632-203E-4327-BC9A-E34E91C949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55B11DA3-1EF5-4204-8067-C133325FE9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8A0622C6-DD1D-4A1B-AF95-2D83C3AB03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9F02F5A1-15C9-47E4-8AA8-379F33E0BE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541E0979-504F-47EC-B218-4E6AC8135B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A07E5430-D049-4942-803B-67FD87F4CE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08BDDF32-9E39-4D4B-85E6-736BD03E51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2CC6139E-D7B6-4B2F-816D-4F86B18FF3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F7AC5178-253F-48EB-BE00-891686E889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B4006077-8873-421C-AE0C-0CF41D2164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c:v>
                </c:pt>
                <c:pt idx="1">
                  <c:v>0.1</c:v>
                </c:pt>
                <c:pt idx="2">
                  <c:v>0.15</c:v>
                </c:pt>
                <c:pt idx="3">
                  <c:v>0.32</c:v>
                </c:pt>
                <c:pt idx="4">
                  <c:v>0.09</c:v>
                </c:pt>
              </c:numCache>
            </c:numRef>
          </c:xVal>
          <c:yVal>
            <c:numRef>
              <c:f>Sheet1!$B$2:$B$6</c:f>
              <c:numCache>
                <c:formatCode>General</c:formatCode>
                <c:ptCount val="5"/>
                <c:pt idx="0">
                  <c:v>0.41971844948119458</c:v>
                </c:pt>
                <c:pt idx="1">
                  <c:v>0.32321333425762577</c:v>
                </c:pt>
                <c:pt idx="2">
                  <c:v>0.49380320527335569</c:v>
                </c:pt>
                <c:pt idx="3">
                  <c:v>0.883084064382609</c:v>
                </c:pt>
                <c:pt idx="4">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KINGUARD POWER 2 BLADE REFILL SENSITIVE 13CT</c:v>
                  </c:pt>
                  <c:pt idx="3">
                    <c:v>GILLETTE FUSION 5 PROGLIDE 5 BLADE REFILL NORMAL 15CT</c:v>
                  </c:pt>
                  <c:pt idx="4">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84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59700877259130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1233410174915606</c:v>
                </c:pt>
                <c:pt idx="1">
                  <c:v>20.833702869625981</c:v>
                </c:pt>
                <c:pt idx="2">
                  <c:v>2.0855384269140949</c:v>
                </c:pt>
                <c:pt idx="3">
                  <c:v>-0.7943759315237866</c:v>
                </c:pt>
                <c:pt idx="4">
                  <c:v>-0.9661556832305957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80F93C3A-A60E-434C-9B23-B81ABB0BB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56DC3305-4DD7-4FA5-BD6A-D9686F089F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E0BE02B2-AE94-4E21-8573-3591ADB11D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F4DFB94C-03D2-418F-A1BE-042D4EDD66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49D104B8-E77A-4F49-BFC9-20540AC68B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866DB656-8FDC-42A9-9746-AFC05D517F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06417A3B-01F8-4B30-8157-C728A322A1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4D7E65BA-86ED-4CC8-8212-37687391C8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865DCF44-E555-4479-A684-F2C93D260B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F38A013C-396A-40E1-8F46-86A6C1823E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D3FF88E5-F1AA-4DB1-80D2-0AEBA0C45E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BE9F7795-E12B-4F2D-8449-582B0F57B8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6F551344-7A2E-4C91-B07B-A9A837233E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450D2968-9320-4AAB-98CD-F51AE7327A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E1DEF1E4-052C-4EBC-A6E0-148BBB7396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CCC277B9-A207-45ED-8E23-FED931CFD1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FD87B58D-EF92-47F8-9B45-98F1B2F404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CA5D6AC9-8213-425B-A3D8-9091652CC6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1F772A5B-F04F-417C-B2D8-D523EBB57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1D1214A9-F907-41C4-AE26-42EE9D2639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39EC2458-69B4-4BC4-887F-1835AD1BF1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46B62FFE-603A-4E15-B26B-EAFD231FEF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E3CFD875-3B26-44D6-ACFA-68AD2DAFA9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HARRY'S ORANGE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GILLETTE SKINGUARD 2 BLADE RAZOR SENSITIVE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DOLLAR SHAVE CLUB RED BLUE WHITE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fld id="{110AA1BC-0408-4CC0-BDC0-EACA83D6DF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80D5CA83-B0A5-471F-9B59-CA5B8AD1D1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930E87C7-0D2C-47D1-BC6E-19682C5CC9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86936790-9184-4626-AEB9-A51DCBEBE7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8D075920-4035-42FB-A436-5A81D64E8F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A24D4E7B-E4F6-41BF-A0F3-B8B4A828FF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CB16D9E5-89A0-4B41-86B8-69C8EDD49A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CB2A543B-E72A-4BE7-A89C-2B47D33011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9F3A230B-835C-48C8-99F0-EF33D100E2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5CDFA337-2270-448B-B5D8-DE79718857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540B40C5-841E-45B2-974B-747FB2B812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7C1F04E1-482F-4A7E-A042-7357829284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B6F69E44-D5A6-44A6-9C62-8D893119D5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BC85AAE0-BD3F-413C-BCBE-BBF222CE6D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75A18584-723A-41B6-B828-84B8E9CC67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E839BAE6-BFB2-4514-9733-32748420B0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9E7D9386-388D-4591-8559-83CFC95A39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5673D71D-BD1D-4D43-B840-0C77695649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2B8F846D-6A68-4C0F-ACE0-69BDC7DA37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3CEFAF53-9B36-46B2-A0E6-2FE2720C01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83032F0F-D8BA-4F6E-957D-87F90C87D0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B4B6730C-3E0E-48C1-B83C-E23660E8E0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7</c:f>
              <c:numCache>
                <c:formatCode>General</c:formatCode>
                <c:ptCount val="26"/>
                <c:pt idx="0">
                  <c:v>0.16</c:v>
                </c:pt>
                <c:pt idx="1">
                  <c:v>0.14000000000000001</c:v>
                </c:pt>
                <c:pt idx="2">
                  <c:v>0.19</c:v>
                </c:pt>
                <c:pt idx="3">
                  <c:v>0.03</c:v>
                </c:pt>
                <c:pt idx="4">
                  <c:v>0.45</c:v>
                </c:pt>
                <c:pt idx="5">
                  <c:v>0.02</c:v>
                </c:pt>
                <c:pt idx="6">
                  <c:v>0.14000000000000001</c:v>
                </c:pt>
                <c:pt idx="7">
                  <c:v>0.12</c:v>
                </c:pt>
                <c:pt idx="8">
                  <c:v>0.39</c:v>
                </c:pt>
                <c:pt idx="9">
                  <c:v>0.47</c:v>
                </c:pt>
                <c:pt idx="10">
                  <c:v>0.47</c:v>
                </c:pt>
                <c:pt idx="11">
                  <c:v>0.46</c:v>
                </c:pt>
                <c:pt idx="12">
                  <c:v>0.54</c:v>
                </c:pt>
                <c:pt idx="13">
                  <c:v>0.28999999999999998</c:v>
                </c:pt>
                <c:pt idx="14">
                  <c:v>0.03</c:v>
                </c:pt>
                <c:pt idx="15">
                  <c:v>0.09</c:v>
                </c:pt>
                <c:pt idx="16">
                  <c:v>0.45</c:v>
                </c:pt>
                <c:pt idx="17">
                  <c:v>0.65</c:v>
                </c:pt>
                <c:pt idx="18">
                  <c:v>0.39</c:v>
                </c:pt>
                <c:pt idx="19">
                  <c:v>0.03</c:v>
                </c:pt>
                <c:pt idx="20">
                  <c:v>0.12</c:v>
                </c:pt>
                <c:pt idx="21">
                  <c:v>0.01</c:v>
                </c:pt>
                <c:pt idx="22">
                  <c:v>0.16</c:v>
                </c:pt>
                <c:pt idx="23">
                  <c:v>0.14000000000000001</c:v>
                </c:pt>
                <c:pt idx="24">
                  <c:v>0.08</c:v>
                </c:pt>
                <c:pt idx="25">
                  <c:v>0.01</c:v>
                </c:pt>
              </c:numCache>
            </c:numRef>
          </c:xVal>
          <c:yVal>
            <c:numRef>
              <c:f>Sheet1!$B$2:$B$27</c:f>
              <c:numCache>
                <c:formatCode>General</c:formatCode>
                <c:ptCount val="26"/>
                <c:pt idx="0">
                  <c:v>1.312053273286643</c:v>
                </c:pt>
                <c:pt idx="1">
                  <c:v>1.15044401511685</c:v>
                </c:pt>
                <c:pt idx="2">
                  <c:v>1.313920192130057</c:v>
                </c:pt>
                <c:pt idx="3">
                  <c:v>0.15600012891003129</c:v>
                </c:pt>
                <c:pt idx="4">
                  <c:v>1.2051359733489531</c:v>
                </c:pt>
                <c:pt idx="5">
                  <c:v>0</c:v>
                </c:pt>
                <c:pt idx="6">
                  <c:v>0.31284334569805361</c:v>
                </c:pt>
                <c:pt idx="7">
                  <c:v>0</c:v>
                </c:pt>
                <c:pt idx="8">
                  <c:v>0.60985348269802508</c:v>
                </c:pt>
                <c:pt idx="9">
                  <c:v>0.98571760573774991</c:v>
                </c:pt>
                <c:pt idx="10">
                  <c:v>1.2512478823607049</c:v>
                </c:pt>
                <c:pt idx="11">
                  <c:v>0.95133552575640024</c:v>
                </c:pt>
                <c:pt idx="12">
                  <c:v>1.7794925098213989</c:v>
                </c:pt>
                <c:pt idx="13">
                  <c:v>0</c:v>
                </c:pt>
                <c:pt idx="14">
                  <c:v>0</c:v>
                </c:pt>
                <c:pt idx="15">
                  <c:v>0</c:v>
                </c:pt>
                <c:pt idx="16">
                  <c:v>0.39685483890510381</c:v>
                </c:pt>
                <c:pt idx="17">
                  <c:v>2.2987878695261892</c:v>
                </c:pt>
                <c:pt idx="18">
                  <c:v>0.86440057806425596</c:v>
                </c:pt>
                <c:pt idx="19">
                  <c:v>0</c:v>
                </c:pt>
                <c:pt idx="20">
                  <c:v>0</c:v>
                </c:pt>
                <c:pt idx="21">
                  <c:v>0</c:v>
                </c:pt>
                <c:pt idx="22">
                  <c:v>0</c:v>
                </c:pt>
                <c:pt idx="23">
                  <c:v>0</c:v>
                </c:pt>
                <c:pt idx="24">
                  <c:v>0</c:v>
                </c:pt>
                <c:pt idx="25">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HYDRO 5 SENSITIVE GRAY HOLIDAY GIFT PACK 5 BLADE RAZOR SENSITIVE 3CT</c:v>
                  </c:pt>
                  <c:pt idx="2">
                    <c:v>GILLETTE LABS ARCTIC CAMO HOLIDAY GIFT PACK 5 BLADE RAZOR NORMAL 2CT</c:v>
                  </c:pt>
                  <c:pt idx="3">
                    <c:v>DOLLAR SHAVE CLUB BLACK 6 BLADE RAZOR NORMAL 2CT</c:v>
                  </c:pt>
                  <c:pt idx="4">
                    <c:v>GILLETTE FUSION 5 PROGLIDE 5 BLADE RAZOR NORMAL 4CT</c:v>
                  </c:pt>
                  <c:pt idx="5">
                    <c:v>GILLETTE FUSION 5 5 BLADE RAZOR NORMAL 5CT</c:v>
                  </c:pt>
                  <c:pt idx="6">
                    <c:v>GILLETTE LABS 5 BLADE RAZOR NORMAL 1CT</c:v>
                  </c:pt>
                  <c:pt idx="7">
                    <c:v>HYDRO 5 SENSITIVE 5 BLADE RAZOR SENSITIVE 3CT</c:v>
                  </c:pt>
                  <c:pt idx="8">
                    <c:v>GILLETTE FUSION 5 5 BLADE RAZOR NORMAL 1CT</c:v>
                  </c:pt>
                  <c:pt idx="9">
                    <c:v>GILLETTE LABS 5 BLADE RAZOR NORMAL 4CT</c:v>
                  </c:pt>
                  <c:pt idx="10">
                    <c:v>GILLETTE FUSION 5 PROSHIELD GRAY 5 BLADE RAZOR NORMAL 2CT</c:v>
                  </c:pt>
                  <c:pt idx="11">
                    <c:v>GILLETTE LABS 5 BLADE RAZOR NORMAL 2CT</c:v>
                  </c:pt>
                  <c:pt idx="12">
                    <c:v>GILLETTE FUSION 5 PROGLIDE STYLER REM BLADES RAZOR 1CT</c:v>
                  </c:pt>
                  <c:pt idx="13">
                    <c:v>GILLETTE MACH 3 3 BLADE RAZOR NORMAL 2CT</c:v>
                  </c:pt>
                  <c:pt idx="14">
                    <c:v>GILLETTE FUSION 5 5 BLADE RAZOR NORMAL 2CT</c:v>
                  </c:pt>
                  <c:pt idx="15">
                    <c:v>GILLETTE FUSION 5 5 BLADE RAZOR NORMAL 7CT</c:v>
                  </c:pt>
                  <c:pt idx="16">
                    <c:v>GILLETTE FUSION 5 PROGLIDE 5 BLADE RAZOR NORMAL 1CT</c:v>
                  </c:pt>
                  <c:pt idx="17">
                    <c:v>GILLETTE INTIMATE BLACK 5 BLADE RAZOR NORMAL 2CT</c:v>
                  </c:pt>
                  <c:pt idx="18">
                    <c:v>GILLETTE FUSION 5 PROGLIDE 5 BLADE RAZOR NORMAL 2CT</c:v>
                  </c:pt>
                  <c:pt idx="19">
                    <c:v>HARRY'S SURF BLUE 5 BLADE RAZOR NORMAL 2CT</c:v>
                  </c:pt>
                  <c:pt idx="20">
                    <c:v>EQUATE EASY FIT 5 5 BLADE RAZOR NORMAL 2CT</c:v>
                  </c:pt>
                  <c:pt idx="21">
                    <c:v>HARRY'S SILVER 5 BLADE RAZOR NORMAL 5CT</c:v>
                  </c:pt>
                  <c:pt idx="22">
                    <c:v>GILLETTE MACH 3 3 BLADE RAZOR NORMAL 6CT</c:v>
                  </c:pt>
                  <c:pt idx="23">
                    <c:v>HARRY'S ORANGE 5 BLADE RAZOR NORMAL 5CT</c:v>
                  </c:pt>
                  <c:pt idx="24">
                    <c:v>GILLETTE SKINGUARD 2 BLADE RAZOR SENSITIVE 2CT</c:v>
                  </c:pt>
                  <c:pt idx="25">
                    <c:v>DOLLAR SHAVE CLUB RED BLUE WHITE 6 BLADE RAZOR NORMAL 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8"/>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8545443431426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MACH 3 3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GILLETTE MACH 3 3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SCHICK HYDRO 3 SENSITIVE 3 BLADE REFILL SENSITIVE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fld id="{A0E2D3B7-438B-4325-B7CF-FB2052CD04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CE722A49-8E76-458F-9ED9-0AD3D3317B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A4A5B5CA-576C-4913-B7F2-FD98E0300F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1FB435D9-84E9-4797-A941-F475B4B869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DF3A5D8C-FC9E-4D7A-9AEF-1D8C6FD748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D7CEBD3-7ACE-4591-92D9-C79B6A0E71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BD74B5A7-99BF-4F3A-920C-DC8D5DBB7B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EDF304BE-D5D4-4EF2-8E6B-89587C42CD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F6B73CFD-D83F-4567-9A00-9EC39422CF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7227301-D4FC-41C6-B25D-5AF7105BD7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0E057B0C-BC6C-4980-A558-37476EB6A7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A194414-181F-4C8B-910F-16949CB08A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A458AFEA-4194-4450-BFDC-E504A68118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1B73033-FBA4-4602-8EAE-0B8B3AA29E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AE61C5B-B90C-4FFA-8EDC-9D441E98EB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D1106B78-3B70-4756-8638-1AAE84800B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85E70231-CBCF-483C-ACFB-97A25AB1F9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3919EA6A-C545-4BAD-8A53-406A6CF7C6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E92620BD-5FA5-4241-9530-49D78AF4F3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5C9CA2E0-04B0-4EFE-9F48-22D8A6A37E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A7C8DBD7-599F-4398-A696-2AE627776F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98931A41-36FF-44D6-A8D0-C04A3D2C18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67A2411A-1CB5-4330-B4A0-B8F78BCEF7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6A9AAC4F-1FFE-44F9-85F7-FDA3A957B7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43636CC6-4ECC-4439-A81D-8D7CAD70D5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1</c:v>
                </c:pt>
                <c:pt idx="1">
                  <c:v>7.0000000000000007E-2</c:v>
                </c:pt>
                <c:pt idx="2">
                  <c:v>0.14000000000000001</c:v>
                </c:pt>
                <c:pt idx="3">
                  <c:v>0.11</c:v>
                </c:pt>
                <c:pt idx="4">
                  <c:v>0.03</c:v>
                </c:pt>
                <c:pt idx="5">
                  <c:v>0.04</c:v>
                </c:pt>
                <c:pt idx="6">
                  <c:v>0.35</c:v>
                </c:pt>
                <c:pt idx="7">
                  <c:v>0.1</c:v>
                </c:pt>
                <c:pt idx="8">
                  <c:v>0.04</c:v>
                </c:pt>
                <c:pt idx="9">
                  <c:v>0.01</c:v>
                </c:pt>
                <c:pt idx="10">
                  <c:v>0.39</c:v>
                </c:pt>
                <c:pt idx="11">
                  <c:v>0.1</c:v>
                </c:pt>
                <c:pt idx="12">
                  <c:v>0.09</c:v>
                </c:pt>
                <c:pt idx="13">
                  <c:v>0.11</c:v>
                </c:pt>
                <c:pt idx="14">
                  <c:v>0.2</c:v>
                </c:pt>
                <c:pt idx="15">
                  <c:v>0.04</c:v>
                </c:pt>
                <c:pt idx="16">
                  <c:v>0.66</c:v>
                </c:pt>
                <c:pt idx="17">
                  <c:v>0.28000000000000003</c:v>
                </c:pt>
                <c:pt idx="18">
                  <c:v>0.12</c:v>
                </c:pt>
                <c:pt idx="19">
                  <c:v>0.54</c:v>
                </c:pt>
                <c:pt idx="20">
                  <c:v>0.08</c:v>
                </c:pt>
                <c:pt idx="21">
                  <c:v>0.18</c:v>
                </c:pt>
                <c:pt idx="22">
                  <c:v>0.57999999999999996</c:v>
                </c:pt>
              </c:numCache>
            </c:numRef>
          </c:xVal>
          <c:yVal>
            <c:numRef>
              <c:f>Sheet1!$B$2:$B$24</c:f>
              <c:numCache>
                <c:formatCode>General</c:formatCode>
                <c:ptCount val="23"/>
                <c:pt idx="0">
                  <c:v>0.28036068611811321</c:v>
                </c:pt>
                <c:pt idx="1">
                  <c:v>2.322914669885693E-2</c:v>
                </c:pt>
                <c:pt idx="2">
                  <c:v>0.45428332366686403</c:v>
                </c:pt>
                <c:pt idx="3">
                  <c:v>8.8637819366076523E-2</c:v>
                </c:pt>
                <c:pt idx="4">
                  <c:v>5.2758507112676142E-2</c:v>
                </c:pt>
                <c:pt idx="5">
                  <c:v>0</c:v>
                </c:pt>
                <c:pt idx="6">
                  <c:v>0.37892159394589803</c:v>
                </c:pt>
                <c:pt idx="7">
                  <c:v>0.51540924912371144</c:v>
                </c:pt>
                <c:pt idx="8">
                  <c:v>2.5617209633611041E-2</c:v>
                </c:pt>
                <c:pt idx="9">
                  <c:v>0</c:v>
                </c:pt>
                <c:pt idx="10">
                  <c:v>0.34438555153868777</c:v>
                </c:pt>
                <c:pt idx="11">
                  <c:v>2.1416509932592909E-3</c:v>
                </c:pt>
                <c:pt idx="12">
                  <c:v>0</c:v>
                </c:pt>
                <c:pt idx="13">
                  <c:v>0</c:v>
                </c:pt>
                <c:pt idx="14">
                  <c:v>0.44487523013291641</c:v>
                </c:pt>
                <c:pt idx="15">
                  <c:v>0</c:v>
                </c:pt>
                <c:pt idx="16">
                  <c:v>2.62605457765184</c:v>
                </c:pt>
                <c:pt idx="17">
                  <c:v>0</c:v>
                </c:pt>
                <c:pt idx="18">
                  <c:v>0</c:v>
                </c:pt>
                <c:pt idx="19">
                  <c:v>0.47877352484274333</c:v>
                </c:pt>
                <c:pt idx="20">
                  <c:v>0</c:v>
                </c:pt>
                <c:pt idx="21">
                  <c:v>0</c:v>
                </c:pt>
                <c:pt idx="22">
                  <c:v>0.7357053867086325</c:v>
                </c:pt>
              </c:numCache>
            </c:numRef>
          </c:yVal>
          <c:smooth val="0"/>
          <c:extLst>
            <c:ext xmlns:c15="http://schemas.microsoft.com/office/drawing/2012/chart" uri="{02D57815-91ED-43cb-92C2-25804820EDAC}">
              <c15:datalabelsRange>
                <c15:f>Sheet1!$E$2:$E$51</c15:f>
                <c15:dlblRangeCache>
                  <c:ptCount val="50"/>
                  <c:pt idx="0">
                    <c:v>GILLETTE FUSION 5 PROGLIDE 5 BLADE REFILL NORMAL 12CT</c:v>
                  </c:pt>
                  <c:pt idx="1">
                    <c:v>HYDRO 5 SENSITIVE 5 BLADE REFILL SENSITIVE 6CT</c:v>
                  </c:pt>
                  <c:pt idx="2">
                    <c:v>GILLETTE FUSION 5 PROGLIDE 5 BLADE REFILL NORMAL 8CT</c:v>
                  </c:pt>
                  <c:pt idx="3">
                    <c:v>HYDRO 5 SENSITIVE 5 BLADE REFILL SENSITIVE 12CT</c:v>
                  </c:pt>
                  <c:pt idx="4">
                    <c:v>DOLLAR SHAVE CLUB 6 BLADE REFILL NORMAL 4CT</c:v>
                  </c:pt>
                  <c:pt idx="5">
                    <c:v>GILLETTE FUSION 5 5 BLADE REFILL NORMAL 8CT</c:v>
                  </c:pt>
                  <c:pt idx="6">
                    <c:v>GILLETTE MACH 3 3 BLADE REFILL NORMAL 12CT</c:v>
                  </c:pt>
                  <c:pt idx="7">
                    <c:v>GILLETTE LABS 5 BLADE REFILL NORMAL 6CT</c:v>
                  </c:pt>
                  <c:pt idx="8">
                    <c:v>DOLLAR SHAVE CLUB 6 BLADE REFILL NORMAL 8CT</c:v>
                  </c:pt>
                  <c:pt idx="9">
                    <c:v>HARRY'S 5 BLADE REFILL NORMAL 4CT</c:v>
                  </c:pt>
                  <c:pt idx="10">
                    <c:v>EQUATE EASY FIT 5 5 BLADE REFILL NORMAL 8CT</c:v>
                  </c:pt>
                  <c:pt idx="11">
                    <c:v>EQUATE EASY FIT 5 5 BLADE REFILL NORMAL 4CT</c:v>
                  </c:pt>
                  <c:pt idx="12">
                    <c:v>HARRY'S 5 BLADE REFILL NORMAL 8CT</c:v>
                  </c:pt>
                  <c:pt idx="13">
                    <c:v>GILLETTE MACH 3 3 BLADE REFILL NORMAL 8CT</c:v>
                  </c:pt>
                  <c:pt idx="14">
                    <c:v>EQUATE EASY FIT 5 5 BLADE REFILL NORMAL 12CT</c:v>
                  </c:pt>
                  <c:pt idx="15">
                    <c:v>GILLETTE FUSION 5 5 BLADE REFILL NORMAL 4CT</c:v>
                  </c:pt>
                  <c:pt idx="16">
                    <c:v>GILLETTE INTIMATE 5 BLADE REFILL NORMAL 4CT</c:v>
                  </c:pt>
                  <c:pt idx="17">
                    <c:v>GILLETTE FUSION 5 5 BLADE REFILL NORMAL 12CT</c:v>
                  </c:pt>
                  <c:pt idx="18">
                    <c:v>HARRY'S 5 BLADE REFILL NORMAL 12CT</c:v>
                  </c:pt>
                  <c:pt idx="19">
                    <c:v>GILLETTE SKINGUARD 2 BLADE REFILL SENSITIVE 8CT</c:v>
                  </c:pt>
                  <c:pt idx="20">
                    <c:v>GILLETTE MACH 3 3 BLADE REFILL NORMAL 4CT</c:v>
                  </c:pt>
                  <c:pt idx="21">
                    <c:v>GILLETTE MACH 3 3 BLADE REFILL NORMAL 15CT</c:v>
                  </c:pt>
                  <c:pt idx="22">
                    <c:v>SCHICK HYDRO 3 SENSITIVE 3 BLADE REFILL SENSITIVE 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08685B9-577B-47D8-A683-7088A6CD0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4635438-7C9C-4B59-8A8B-52CE06E6E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6F8D4FBF-BABC-400E-8AF3-B9EED97C8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F12764F7-1EE0-4F9E-BB2E-1FE9289D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0E48B5BF-B47B-4923-8F90-F65A3B778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2E543F51-2456-467F-B25B-4149605CA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C23D0F1F-52DA-4EEC-9FF7-EBBE1DB91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BFC4ABCB-55F9-4B6A-B360-91640BCA4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E9EB9081-7BAC-4961-AA97-8A55124E4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D8AB5EA1-0C67-43F5-9CD3-DA0DDB8F5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113B7E14-A47F-47FD-8A6E-89C730944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6508238-C068-49A9-B593-672AC50F3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99F3BD07-BBE4-4CD2-AD77-FC2890DF5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9134EFF9-7F92-42FB-93FB-47C6F6710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4BE5B994-3C3B-4037-9850-798B953BE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832F596D-D63C-4ABC-8123-23FB3502B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5A73FB67-3E5C-4D00-B5E7-7D2302323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936C2ED5-7970-4F62-8851-ED34B754C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E837461F-2652-49FF-AF5D-D68B75E72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590D4FB-3E4D-4B48-84D1-C7CD0D559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C5BA8249-301B-4598-A5A8-11D43ACC7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B914C9A4-1C08-4371-B3A3-2A16D61C9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A10C6B8F-DB9F-42AB-8A31-D6F61D678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55ECCA78-01FA-4B6C-AC8A-7E5DACBDE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17537D01-C51A-4357-8328-8C4329C90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E9CC6BF7-520C-4886-8BEE-CCCEDDF0D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027CD4AE-D615-499F-91AC-4A309DC6D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75AEDEA3-FE5D-4DDE-9D69-ABA2C2842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5D9701D6-3E94-421A-BFBC-A442EDCE4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0442C041-0A84-424D-8746-E726FD31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05F0EBCE-7B95-49D0-A133-4DB2BEF20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968245C9-14E8-48FC-8F61-D7A4BDB68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A8284DF6-489E-45C5-9207-8EF3C98C0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5F637D94-046E-400C-B6F1-6A2DBA32A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0887A82-9C16-49A7-A2EA-22FFB0295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BED588B-0990-4C61-8394-C49889326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10026F08-0A1E-4074-8708-782B5A9B0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2F80D7A4-8CD7-49D9-A7A9-ED32A7083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EFBD4FF-4E21-423A-AF41-870931E9A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78E2CD11-43F9-4ACF-BBD4-5BD126FDC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A7F7ADDE-1898-4DEF-A4C8-D7D914EB9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27BF1293-E26D-4014-9EAD-240E7EB25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A151ED6-C8F8-4AA3-9F95-D40C32B64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39698191-5839-4AEB-8F2F-D0962CF21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E92A9EC3-B983-47F1-80B2-910523DE6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902175A-3AE2-46C0-A482-FEFFD13FF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6</c:v>
                </c:pt>
                <c:pt idx="1">
                  <c:v>1.9</c:v>
                </c:pt>
                <c:pt idx="2">
                  <c:v>1.33</c:v>
                </c:pt>
                <c:pt idx="3">
                  <c:v>0.96</c:v>
                </c:pt>
              </c:numCache>
            </c:numRef>
          </c:xVal>
          <c:yVal>
            <c:numRef>
              <c:f>Sheet1!$B$2:$B$5</c:f>
              <c:numCache>
                <c:formatCode>General</c:formatCode>
                <c:ptCount val="4"/>
                <c:pt idx="0">
                  <c:v>0.27279047397178152</c:v>
                </c:pt>
                <c:pt idx="1">
                  <c:v>0.23067785652178049</c:v>
                </c:pt>
                <c:pt idx="2">
                  <c:v>0.17727200467040899</c:v>
                </c:pt>
                <c:pt idx="3">
                  <c:v>0.27999560553999492</c:v>
                </c:pt>
              </c:numCache>
            </c:numRef>
          </c:yVal>
          <c:bubbleSize>
            <c:numRef>
              <c:f>Sheet1!$C$2:$C$5</c:f>
              <c:numCache>
                <c:formatCode>General</c:formatCode>
                <c:ptCount val="4"/>
                <c:pt idx="0">
                  <c:v>25406313</c:v>
                </c:pt>
                <c:pt idx="1">
                  <c:v>8454937</c:v>
                </c:pt>
                <c:pt idx="2">
                  <c:v>9284787</c:v>
                </c:pt>
                <c:pt idx="3">
                  <c:v>5674749</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12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4E0834FC-6E4E-4FED-8BE4-7D11C96C8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D91421C-DDA0-46BA-BC6B-1F0E24CD2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0E9EEC4-2799-4B1D-BE40-DA9EAE201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98A6ED2F-028C-4D0F-9519-C4FA8F2B9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85EDBCF-9A4E-404C-8431-C65EDC258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07A8A6A-93E0-4DB1-BB29-9F1F4EF33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BE9E713B-537C-4E17-8DAF-0CCAD9630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B474850E-EC7F-4C84-86D8-4F5868B3C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920428C2-B5A1-4A01-819F-9AF076B28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47012A3-9031-4CDC-B2A9-42F5E7828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E71E8C4A-98D7-42B1-9206-15BD60B19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893B1B2B-0B4C-4FF0-B2BC-C6680017C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4CC18C8-2F90-45C1-967A-86BA7B2D6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98824FF-DC4D-4CF1-BA36-6C6A2D954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3363-48D8-B751-EA6AD3438C92}"/>
                </c:ext>
              </c:extLst>
            </c:dLbl>
            <c:dLbl>
              <c:idx val="16"/>
              <c:tx>
                <c:rich>
                  <a:bodyPr/>
                  <a:lstStyle/>
                  <a:p>
                    <a:fld id="{25A87D1D-FF3E-40CA-8EA8-CCEFCDEEC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0468163-CEBC-4394-BA8B-D04F7D867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329B53B-94C8-4A25-9510-21F0FCDBA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B788A9B-FD77-4B7A-9A8E-2B53EC837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75B66EB-13A3-4131-8FD7-EB6E20AC9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86757174-950E-4D0D-A1FE-7B3F9EEFA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2C7C00C8-58E5-4B53-8E4D-97201E22D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F8DB96B2-F8A7-4163-9E05-F9AE4D63C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3B193F6B-4BAA-4CA5-81AA-AE98250EE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2A9C8A2A-7669-4002-B81A-AE5488F09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0476E35E-87A1-473D-BC10-9969367FB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294CA28A-1DAF-4A1A-B5CE-5062FEF99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BC1520F2-8172-495C-9695-BD5D2F11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A0247A65-4E7C-4913-8846-8F8500AE6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FB0CD39-37FC-4090-BF59-701C1758E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DF959ED-E5D2-4DBC-AFE7-2D751CBEB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BA3DCF20-9B56-4A46-BD4E-FC7793D7C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275CD251-2647-496D-85DA-4015B0FC4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21CB5E8E-B55D-4BB6-B7CE-8AAE86CB7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28AC5F7B-1C85-4344-8FD5-6C0785B6C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01E06A5E-F691-46BD-B423-7A1AEEC55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2A5F778-11E5-42F9-BC26-F7B4688D3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302049EF-3AE1-465D-843D-21AF772F2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BB353D91-4491-4AFF-80BC-93976FDC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35B82C7-2E33-48E2-B898-F101BEEB4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A0FC0FEB-6A9F-4688-BEAC-F7C987FC6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18FC1CB3-3B0D-42E1-890F-128518828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0037F4D1-6574-46D9-AA43-74AA8B9DE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5E4D718C-0755-4430-863F-DAF2C77BB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10188450-01B6-4217-A221-712F885DC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44A63484-AFC1-4EB9-B6C9-D1A4552B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BAF7646A-B726-4644-9794-A453056EC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5</c:v>
                </c:pt>
                <c:pt idx="1">
                  <c:v>1.72</c:v>
                </c:pt>
                <c:pt idx="2">
                  <c:v>1.24</c:v>
                </c:pt>
                <c:pt idx="3">
                  <c:v>1.32</c:v>
                </c:pt>
                <c:pt idx="4">
                  <c:v>1.27</c:v>
                </c:pt>
                <c:pt idx="5">
                  <c:v>1.75</c:v>
                </c:pt>
                <c:pt idx="6">
                  <c:v>1.39</c:v>
                </c:pt>
                <c:pt idx="7">
                  <c:v>1.49</c:v>
                </c:pt>
                <c:pt idx="8">
                  <c:v>0.91</c:v>
                </c:pt>
                <c:pt idx="9">
                  <c:v>0.65</c:v>
                </c:pt>
                <c:pt idx="10">
                  <c:v>1.4</c:v>
                </c:pt>
                <c:pt idx="11">
                  <c:v>0.03</c:v>
                </c:pt>
                <c:pt idx="12">
                  <c:v>0.06</c:v>
                </c:pt>
                <c:pt idx="13">
                  <c:v>0</c:v>
                </c:pt>
                <c:pt idx="14">
                  <c:v>-0.03</c:v>
                </c:pt>
                <c:pt idx="15">
                  <c:v>-0.69</c:v>
                </c:pt>
              </c:numCache>
            </c:numRef>
          </c:xVal>
          <c:yVal>
            <c:numRef>
              <c:f>Sheet1!$B$2:$B$17</c:f>
              <c:numCache>
                <c:formatCode>General</c:formatCode>
                <c:ptCount val="16"/>
                <c:pt idx="0">
                  <c:v>0.81460090735963353</c:v>
                </c:pt>
                <c:pt idx="1">
                  <c:v>0.7383750528378934</c:v>
                </c:pt>
                <c:pt idx="2">
                  <c:v>0.76790738086259158</c:v>
                </c:pt>
                <c:pt idx="3">
                  <c:v>0.39216582365237512</c:v>
                </c:pt>
                <c:pt idx="4">
                  <c:v>0.240954913595957</c:v>
                </c:pt>
                <c:pt idx="5">
                  <c:v>0.59609743116706959</c:v>
                </c:pt>
                <c:pt idx="6">
                  <c:v>0.13864863616545811</c:v>
                </c:pt>
                <c:pt idx="7">
                  <c:v>0.28221830030740819</c:v>
                </c:pt>
                <c:pt idx="8">
                  <c:v>0.14103156992395741</c:v>
                </c:pt>
                <c:pt idx="9">
                  <c:v>9.1836150396722896E-2</c:v>
                </c:pt>
                <c:pt idx="10">
                  <c:v>0.23075279536192311</c:v>
                </c:pt>
                <c:pt idx="11">
                  <c:v>0.10001820721860551</c:v>
                </c:pt>
                <c:pt idx="12">
                  <c:v>1.5111368645785229E-2</c:v>
                </c:pt>
                <c:pt idx="13">
                  <c:v>0</c:v>
                </c:pt>
                <c:pt idx="14">
                  <c:v>-1.9226785309249528E-2</c:v>
                </c:pt>
                <c:pt idx="15">
                  <c:v>-5.4076604412468622E-2</c:v>
                </c:pt>
              </c:numCache>
            </c:numRef>
          </c:yVal>
          <c:bubbleSize>
            <c:numRef>
              <c:f>Sheet1!$C$2:$C$17</c:f>
              <c:numCache>
                <c:formatCode>General</c:formatCode>
                <c:ptCount val="16"/>
                <c:pt idx="0">
                  <c:v>1778216</c:v>
                </c:pt>
                <c:pt idx="1">
                  <c:v>1356208</c:v>
                </c:pt>
                <c:pt idx="2">
                  <c:v>901567</c:v>
                </c:pt>
                <c:pt idx="3">
                  <c:v>1577777</c:v>
                </c:pt>
                <c:pt idx="4">
                  <c:v>1162498</c:v>
                </c:pt>
                <c:pt idx="5">
                  <c:v>1128687</c:v>
                </c:pt>
                <c:pt idx="6">
                  <c:v>1539499</c:v>
                </c:pt>
                <c:pt idx="7">
                  <c:v>1048958</c:v>
                </c:pt>
                <c:pt idx="8">
                  <c:v>619932</c:v>
                </c:pt>
                <c:pt idx="9">
                  <c:v>755811</c:v>
                </c:pt>
                <c:pt idx="10">
                  <c:v>709097</c:v>
                </c:pt>
                <c:pt idx="11">
                  <c:v>829105</c:v>
                </c:pt>
                <c:pt idx="12">
                  <c:v>612423</c:v>
                </c:pt>
                <c:pt idx="13">
                  <c:v>350447</c:v>
                </c:pt>
                <c:pt idx="14">
                  <c:v>914106</c:v>
                </c:pt>
                <c:pt idx="15">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860D7C3-4F5E-40B0-8499-ACD188447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05869B7E-283D-4EE7-9930-374ECF6D7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2F83EB84-E0F6-4F9F-B79B-C8B25C1D0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0B620E20-3E17-4035-A03E-2DD42C29F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056479BA-0DC0-4C25-B3B0-908069D0E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833DD97C-C862-4814-8C1D-53D0C3DA9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9B04134-DBF8-4191-B781-62EE8ACAC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05BC7311-65B3-46A2-A9B8-ABC830382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FD137DE3-0323-4FAC-80D7-888B0B825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B3C32B5A-6F8A-4DF4-956F-7A0633C4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A855728C-F7A8-4E02-8840-4903BDB1E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8B120C9-153D-4CFC-84E3-F37EBBF02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FAB8861D-2D98-4812-B91D-0D7455BDD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BF5E79C5-E313-4236-9F1C-FC92B6F19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A043525A-879D-4076-B4B2-7272A46D6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FE7DF06B-F377-4FC1-B215-CA927179C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A9F0153F-3B1F-4AEB-A8F6-5C7E65F5D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32095E3D-3E24-4166-B07E-A041CEF21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35DD7650-75F3-4A9F-AA1F-D589DF204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B223AD6-6A51-43E8-8263-88B2247B5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D938E248-E104-4D17-8367-B0612354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2214ABCC-D647-4771-96D0-D736660D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3B62D669-6D66-4319-9ED8-07CE100A5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8C6CD58B-8C98-4E5B-BC6C-9C3112749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629E6032-E560-483E-9439-4ABB8E4C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42161B98-3FBA-4598-A54C-566E7486A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461F2B6-33EA-42B3-9D88-33A20C8E6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74555230-2D29-42A5-9519-1862E0F91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062CFE1F-819E-4D60-A5EA-00687F2AC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F6B92A91-42D1-42D8-9CBC-AEDA5B1DE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F6AD1ED7-EF3B-4298-A197-C83E56584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CEA7A511-C204-484A-ADED-26B825C0E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EC9D5A92-C6F4-44AF-99AC-1F43D3EF2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870A140-B910-47F2-B370-BEDD1D818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65DB1E6-0E92-4BDD-B428-967570CE3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08E040E1-81A6-4BC8-922B-9249F24BB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ABDAD22A-16D9-4251-96CD-054E4EC4F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ABCA8327-0034-4D30-BE90-CCCE7EB7E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38281FE9-DF8C-4AFC-9EA6-E3FC5C2ED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31F3DB9C-44EE-4543-B84D-01F7DE408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F12F7C33-B7D6-4A45-B465-181466E42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41298ADA-5FE7-4726-96B2-79C3FF019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17FE12A0-DB53-4223-A868-F06D56712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440964D7-A78D-424E-B9A5-F574AFB4E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45A7C6B7-2344-4D04-98D8-A7BED103C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820EEB3D-0AA7-40B0-AD41-D775428A9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86</c:v>
                </c:pt>
                <c:pt idx="1">
                  <c:v>1.33</c:v>
                </c:pt>
              </c:numCache>
            </c:numRef>
          </c:xVal>
          <c:yVal>
            <c:numRef>
              <c:f>Sheet1!$B$2:$B$3</c:f>
              <c:numCache>
                <c:formatCode>General</c:formatCode>
                <c:ptCount val="2"/>
                <c:pt idx="0">
                  <c:v>0.27279047397178152</c:v>
                </c:pt>
                <c:pt idx="1">
                  <c:v>0.17727200467040899</c:v>
                </c:pt>
              </c:numCache>
            </c:numRef>
          </c:yVal>
          <c:bubbleSize>
            <c:numRef>
              <c:f>Sheet1!$C$2:$C$3</c:f>
              <c:numCache>
                <c:formatCode>General</c:formatCode>
                <c:ptCount val="2"/>
                <c:pt idx="0">
                  <c:v>25406313</c:v>
                </c:pt>
                <c:pt idx="1">
                  <c:v>9284787</c:v>
                </c:pt>
              </c:numCache>
            </c:numRef>
          </c:bubbleSize>
          <c:bubble3D val="0"/>
          <c:extLst>
            <c:ext xmlns:c15="http://schemas.microsoft.com/office/drawing/2012/chart" uri="{02D57815-91ED-43cb-92C2-25804820EDAC}">
              <c15:datalabelsRange>
                <c15:f>Sheet1!$E$2:$E$49</c15:f>
                <c15:dlblRangeCache>
                  <c:ptCount val="48"/>
                  <c:pt idx="0">
                    <c:v>1</c:v>
                  </c:pt>
                  <c:pt idx="1">
                    <c:v>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95000000000000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2FD931D5-9FE2-4A48-90E2-58992D500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E20D360-D44B-4E8E-B155-5FD048BA3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AE91B134-E81D-4052-814E-02C90393B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ED3C0018-5B9E-4FFE-9D9D-3F969638B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E284CC7-6706-47A9-BAA4-84A9574E5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368CAB81-0DCB-46BB-9A89-34AE52014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4FA894C8-84D5-4808-AF89-A4DA02F8A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856F25B5-0E51-428D-97DC-2B729AF9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B9607443-ACA7-438B-ACA5-8F405588E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43B9674A-B2E3-45A3-8CA0-CEA84637F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D45C278E-2FD5-49CF-815D-20227010B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B1724A2F-2A59-4AD0-AF7D-62F087319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CCEE4AE-BD75-41D8-A5E1-B63DB7808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ABB78084-2F55-44B2-9C61-529CC817A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1A159FEB-D73E-48D3-AAC5-2702D5F21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BFE038C9-8730-4D8D-A4C5-8CCFDCC63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67B01C3-13FF-4C10-9B66-3FCB0905F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C9D8748-4710-4C5F-A28C-EA20BD34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372C1408-0C00-4662-9BC5-FD619E8A5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5F3E5D6-46A1-4F11-9DC8-A01CF77FD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BD782BB4-0467-43AF-B436-B686F5129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57A0F2C0-ABB8-48CB-B4EE-867573895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BA4F17FF-2F6C-45C7-A6B7-B27050A44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E0B261A8-3D1E-4902-B3BC-1B0412C5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53FCC2D-E53A-47EF-806F-5535F5C4C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23C7F4D7-A35A-4916-BBCF-13AA4411A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E33077A2-E3EE-4F8C-8E24-157681B62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ED86F8D1-EC10-4FF1-851C-499FE6C8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9D8B728A-051B-484C-9E78-D5BB7D02C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C3D66C99-90B8-4212-B080-605D5CE1E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47277D1E-EE12-4CBD-8EF1-39A9D2C4A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FD9C8657-1976-42EB-87CC-3403AEAF6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C9842C96-E9DC-4284-9C79-6BA12BB40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B63D1B52-89E3-4023-A0CA-CF6B39309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34B4A824-66A7-4DA6-80A2-F717D385C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67D1250F-5939-43D1-8A1D-A81013EBA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44331E7-6344-4906-8482-D01D2780F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E2B96C5-58F2-4DB9-A08B-C2DBBC21B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F3318951-CA95-4E85-A120-97AA342F3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AF4E05C-C5A3-4183-95FA-D60C124DE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A30CC3E2-F9C9-4C3A-83F9-789236AB4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492448A6-8C94-4F88-9039-042A6E050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0F4163BC-F1BC-43F7-B5A6-EACCCE912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86E11B7-42A0-466E-B6EA-8AC60DCEF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086226FA-4657-4AD8-834E-92ECC1373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70F8C33-57B4-475E-B170-24AA0F0E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FEF7E6E-5812-4F40-ACB6-2E3614320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8EBD9A6-306D-404E-819D-45A6F41CD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C281B30F-C1A6-4852-AE6A-2C2370242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DB085B5-2E70-480E-80D6-9D7C35838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FCFCC13-FA3C-4E6C-B1FD-9481C024D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6531E48-B447-42A6-8A4E-3DF55C81E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76AD483-1B5C-4C0C-AA71-8BFA69008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A87D69B-7944-410E-82E2-7A54EE7AE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AF96AF1-D06D-46FD-890D-C07AFA286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D1C99D74-6FB6-4230-989D-8FAA52B21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3363-48D8-B751-EA6AD3438C92}"/>
                </c:ext>
              </c:extLst>
            </c:dLbl>
            <c:dLbl>
              <c:idx val="12"/>
              <c:tx>
                <c:rich>
                  <a:bodyPr/>
                  <a:lstStyle/>
                  <a:p>
                    <a:fld id="{7F202F1E-9534-42F5-80A6-4159E1815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6AD71D86-DDD0-4189-A418-969538646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1448C75-D7BC-4CB5-957F-43AFD7673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40AF3C89-D2D1-41AE-AB5B-9A2571A59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2524F2EE-41A8-4617-A8E5-791B2AF6A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16BFE1CA-60D1-467E-A57B-8EA1AA23A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723E0F3D-D7C3-4275-93BB-546180CE1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72F1843-92B4-497A-953E-42CC344F2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603742CB-E1B9-460B-9251-DA62AEB93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DAC81FB3-341E-427A-AFE9-588C33EB9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71F5A712-CF0C-4375-AD86-AF4CE9B4F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29F69561-C203-4C6F-ABFE-C6D091FB7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AAECF84C-1524-4B11-8D39-B34C7A5D4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D4696E0C-7685-40CF-A4A2-BD89FC5D7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2AE300AF-FE0C-4712-8FDA-10571CC5D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1D669507-F4B4-4BEA-AE23-A30AA2A43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F81FD952-F349-4D7B-B8A6-026815A3B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B33143BA-4325-41C8-A3CA-F2E84F03B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9FA1E916-1ED8-4D84-95A5-3DF686233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19557297-3D6C-4AF4-9B0A-A15E9BA84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DA152E2-B033-4DD2-9698-9D02BAB67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E752357F-D8C0-4F90-A50C-0FF2653CD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DFF5126A-3076-4BBD-A22C-90CF4E93B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0DC609BA-A9C5-40F1-951B-396B7B494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21E0B9C0-5AD1-4098-A508-D5CC42DF4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AED7E39-271F-4F85-85D6-32186919C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B4E4E9A6-296A-45BF-8F50-88B05E5A0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4E9F553-8412-4BA3-A7F3-A501BB662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24AC5704-D6F5-476F-BF58-DEC23CC89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DBB43BB-D4AD-4169-B4D1-A4EC2D51D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3C3A708D-0A98-4DA5-B5DA-13DA47DB9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21A040BA-8B7E-45DA-A37D-F05231DDA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9F386B07-CF94-4C72-80C8-81AE812A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7032D02-B7F0-4F11-A0A8-BE158047B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9F68A6A9-DECA-4A4C-996E-A62ECD6D0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048C3930-6B1F-4B8A-8341-8774FA943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3</c:f>
              <c:numCache>
                <c:formatCode>General</c:formatCode>
                <c:ptCount val="12"/>
                <c:pt idx="0">
                  <c:v>1.5</c:v>
                </c:pt>
                <c:pt idx="1">
                  <c:v>1.72</c:v>
                </c:pt>
                <c:pt idx="2">
                  <c:v>1.24</c:v>
                </c:pt>
                <c:pt idx="3">
                  <c:v>1.32</c:v>
                </c:pt>
                <c:pt idx="4">
                  <c:v>1.27</c:v>
                </c:pt>
                <c:pt idx="5">
                  <c:v>1.39</c:v>
                </c:pt>
                <c:pt idx="6">
                  <c:v>1.49</c:v>
                </c:pt>
                <c:pt idx="7">
                  <c:v>0.91</c:v>
                </c:pt>
                <c:pt idx="8">
                  <c:v>0.65</c:v>
                </c:pt>
                <c:pt idx="9">
                  <c:v>0.03</c:v>
                </c:pt>
                <c:pt idx="10">
                  <c:v>-0.03</c:v>
                </c:pt>
                <c:pt idx="11">
                  <c:v>-0.69</c:v>
                </c:pt>
              </c:numCache>
            </c:numRef>
          </c:xVal>
          <c:yVal>
            <c:numRef>
              <c:f>Sheet1!$B$2:$B$13</c:f>
              <c:numCache>
                <c:formatCode>General</c:formatCode>
                <c:ptCount val="12"/>
                <c:pt idx="0">
                  <c:v>0.81460090735963353</c:v>
                </c:pt>
                <c:pt idx="1">
                  <c:v>0.7383750528378934</c:v>
                </c:pt>
                <c:pt idx="2">
                  <c:v>0.76790738086259158</c:v>
                </c:pt>
                <c:pt idx="3">
                  <c:v>0.39216582365237512</c:v>
                </c:pt>
                <c:pt idx="4">
                  <c:v>0.240954913595957</c:v>
                </c:pt>
                <c:pt idx="5">
                  <c:v>0.13864863616545811</c:v>
                </c:pt>
                <c:pt idx="6">
                  <c:v>0.28221830030740819</c:v>
                </c:pt>
                <c:pt idx="7">
                  <c:v>0.14103156992395741</c:v>
                </c:pt>
                <c:pt idx="8">
                  <c:v>9.1836150396722896E-2</c:v>
                </c:pt>
                <c:pt idx="9">
                  <c:v>0.10001820721860551</c:v>
                </c:pt>
                <c:pt idx="10">
                  <c:v>-1.9226785309249528E-2</c:v>
                </c:pt>
                <c:pt idx="11">
                  <c:v>-5.4076604412468622E-2</c:v>
                </c:pt>
              </c:numCache>
            </c:numRef>
          </c:yVal>
          <c:bubbleSize>
            <c:numRef>
              <c:f>Sheet1!$C$2:$C$13</c:f>
              <c:numCache>
                <c:formatCode>General</c:formatCode>
                <c:ptCount val="12"/>
                <c:pt idx="0">
                  <c:v>1778216</c:v>
                </c:pt>
                <c:pt idx="1">
                  <c:v>1356208</c:v>
                </c:pt>
                <c:pt idx="2">
                  <c:v>901567</c:v>
                </c:pt>
                <c:pt idx="3">
                  <c:v>1577777</c:v>
                </c:pt>
                <c:pt idx="4">
                  <c:v>1162498</c:v>
                </c:pt>
                <c:pt idx="5">
                  <c:v>1539499</c:v>
                </c:pt>
                <c:pt idx="6">
                  <c:v>1048958</c:v>
                </c:pt>
                <c:pt idx="7">
                  <c:v>619932</c:v>
                </c:pt>
                <c:pt idx="8">
                  <c:v>755811</c:v>
                </c:pt>
                <c:pt idx="9">
                  <c:v>829105</c:v>
                </c:pt>
                <c:pt idx="10">
                  <c:v>914106</c:v>
                </c:pt>
                <c:pt idx="11">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87F9722-46BF-436F-9C27-7F43F5482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9FF4084-0F2F-4623-89E2-7866CCA46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EB41C9E-C6EB-44DF-A0ED-25C0880EF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FEFA9884-D028-4C8A-A194-6BD0A9380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7EEA6443-BAC2-44A3-9DE9-DD402EDCC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95658F85-1CB5-4CF3-8007-D732F8F3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6FEB56E8-E280-4154-B133-CDF310F3C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1A92149D-42DD-4303-8DCD-A7FEA5992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85A53BED-48C1-44C4-902B-EC89A0E9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2562A2FB-74A1-451E-B7FA-BB1C2D1F4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186A2DFC-959F-491C-871B-B2E6E2DE2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186495D7-E6D4-4F0F-9BFF-F7F2AB6E0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DA8949A-360E-4962-A1AC-696CFC39D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FD2E4496-2E4E-4C1E-95D0-809F6A065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E1B8A1BE-9643-425D-B693-B45108206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BFF5E526-B836-43B3-9113-324EDFAF9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09038F2B-8612-436C-BDFB-D659E2673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D4BB99D-A7E1-485C-A8EE-7500344DF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087D23E-77FF-485A-B34D-F2C07ED45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AAB9895-21C1-4FFC-8DA1-E7D228DD6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BC073C86-629A-41CB-A59F-4428614DB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ABCA2878-FD70-47A4-8EC3-C7FE69859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5E02F045-442D-4B78-8485-001AE50B7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C279417-C7C8-498C-82F0-6B3DCD9EC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2CC60EE8-06B3-4986-A6F2-9F11B164A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8A24A602-55F7-4386-A5A1-B6D0F8687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769100F9-0590-4E27-B428-3FF25E064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46D4E414-3C8A-4A82-9EE2-63948DA8B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F4180D8C-7F80-47D6-96AD-0E6EA268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E455C67C-E6BA-49A7-ABCD-3BC655750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937EA1C-D252-4B21-9B8B-E07DC878B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1F6EB6E1-D875-4298-8376-0A85546D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0BED9D33-A474-4D6A-9653-CCDAE32E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E48EE917-FFEC-4B38-B24C-FB31DB30A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49F0184E-D3BC-4A85-BB2D-B3F8EF42D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A8153CE6-2142-4C9C-B1CE-87CD9559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FE17BB40-BFF8-40B5-B7C5-6C5875C3E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FFD1CDF6-24FE-40BF-8264-797A31EEE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82C8C077-6D81-4D22-8305-4E2800403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D10C66EF-156D-4651-B21A-7E28777D4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EFD0D669-796A-4592-87E1-1490DAD8C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81EE7E90-B8D8-4215-8E9A-00BB49BE2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0D5CC6DC-FFC1-4B12-B57E-6829076C0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D755D17-CCF3-4C17-A585-831987C18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01C9FB4F-5DD3-4836-99BE-7826B0FF2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5B1234C9-2124-4105-AE31-D4B7BFFDD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75F80EB0-E7F4-4A04-87D9-6F3C58E63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E2C36B1-785A-4427-9603-29ABF1AEC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353BFF51-20A4-4B16-9582-658A53B96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5F3DCDAA-B693-4C78-A870-E57B4A8FA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7A893ACE-3F3B-4882-A791-672899F95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761E3095-669C-46D6-98F7-B215DC704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BFEB9C14-8B7D-4B12-97AF-28C6532E8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F5A5454E-6832-41D5-AC30-500EA08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F2DDBCC2-4AE2-4874-9ACA-415C675A3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3B7397CE-9257-4DE3-9122-258A49795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98FB08B3-8620-4F8E-94D1-87E582D0D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550D978-B4DA-4E0B-89DC-6ED862048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A35064E-06C0-48F5-B285-9D06E92F5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0DE136BF-DA45-465C-9EC9-DEA73B43F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FF9D0249-E6AF-4A19-8881-A19B1C24C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8AEE5630-89A8-4C0D-91D0-360A14941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E6DEC89A-8A1F-492A-81A5-756E93B37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86D268E3-02DC-4E5B-B8E3-A4CECD8F3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25F966E-8485-46F8-B11A-CB1F486CB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DBC55CF4-084A-4F9E-8105-6D59AFDA2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D10B7266-4814-4EDC-9A68-4509FD895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02C9D0FE-6F1A-4B80-B1D7-69050AF2C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1270EC07-91AD-43C6-BB2A-099D55A65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4C033FD5-3176-47EF-BFA3-AC06F406F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265448F-568F-469E-9B78-1E12B640E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81751BD9-3F31-43E9-8638-7D5444FE7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15E69011-DF5F-402D-BA18-8E1B42DB7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7A335B38-7FF2-4208-A90C-11D789FEE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DF37C115-B792-47A9-8952-047E66008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7F1E07A1-96B9-4D68-8CF7-8D0B08833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71859D56-4D59-4EDA-9801-D15B933FC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1E349835-7A11-48F3-A54B-0994831AA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C6393A2B-C10A-4B55-8C97-146A4CE16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EE89E89E-C628-4909-9CD8-C691C58A6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A41CD4B5-1135-472C-9AC7-8D3639ED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2B6F632D-3609-4F7C-A861-D6651FAD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35AF6429-38FD-4022-94F3-82BC18A38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45E93A7-FAE5-4E88-84B1-5E7299DD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2751F26C-EF9D-4079-9ED6-B29878D3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95BAEB16-B652-4818-B131-7810E4031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E79CF5AC-772A-4CFC-92A1-75EA80A40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E5A644D4-F01F-4EBB-92C7-32BCEDCA4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DBB21124-07E6-4026-AD03-8C95CB169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C7385AB-69E8-444B-B921-0098F1E2C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62FE0104-D816-405D-A491-945B540DF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6CF924A7-FB13-4A3C-B68C-00AF620FA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0C381682-650F-40B3-BFBF-337436B0B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819B288-987A-40F5-8016-3A650C2C5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B1A1C6C4-2983-4B1D-BF5A-99757447F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3EF99891-8D96-46F8-BF3B-2C340EE76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1768E29F-05F5-4AEC-8D4F-6425AFA3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8441815D-D4B6-438D-ADED-866E3521F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8AAF464-953D-47B3-883D-F88A3701A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329705CA-BB8F-4028-AE89-E8386FC15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C169BFB5-C71F-44D4-B6A9-1AC232925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1E8071A4-DBDF-4064-9240-25F0EC5D8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144AA175-9739-410B-A35F-45C3263B3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5D117C82-8134-4166-83B7-1F9C11507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16736A87-8400-442B-81DB-CEFF2F241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F8C695F-6ABE-45FC-9DE3-C18979349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AA1D0E96-0B1D-41C8-83B0-6041B934C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7445E6FE-7E2E-4622-850D-DA21E0EBA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2CB9428-6B02-4753-8290-E281DFB8E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8DC40A8-DAB9-4DBC-B69E-0939B8A5F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17C576B9-7300-4E0D-9E50-B9833BF7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1277B8C-62F9-475D-9BCE-BBA7C977C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6A38D2C8-70D0-46CB-A9DC-26032839E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E072BF12-5BE2-4450-909F-F03549FC6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A80754CA-B1B4-4CAA-9EB5-69AE8849B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B3A0714A-D801-4CF0-BBC7-253D594A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5312512D-E664-4193-A0AD-60B980A18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F4981319-E868-44EE-A9EC-70266128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C74E97E7-58DD-4557-BE67-3E065AE82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14F936F8-0FD4-403F-8CA7-F6CF61E32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07CFCA1D-BF7D-49DB-A198-664841D4F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74D8A690-1032-4414-9932-A6536C515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D020190E-A799-4333-8799-CB61D27C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3CCE98F4-FC5A-448E-9F6D-74DA07612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23012492-2968-4311-9D60-7BDE54DC8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F5EF19F2-D5F3-4C14-A7E8-D67B4A6E3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A36C2D0A-6D1B-4006-8B6F-DA411EBC0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0633279-17B3-4535-A386-45626BE6A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5825BD63-4CEC-4678-9C6B-88D47D5B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4BFB79A5-618A-43E3-9947-5E125FFC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AEC9A82D-92B0-43F6-9EB5-934A57BB3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786AFE91-95C3-4656-8B71-D417514FF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CAE7F529-46C8-435A-9E7D-095EDCB41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35F2D556-F886-49D0-8832-9AFD5D62F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7178253-D119-4471-8648-265B7D00F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416C007C-29A7-41D7-9A35-77B8734AE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D27D2391-6364-41BE-A751-C1C3B696A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A46268DB-553F-42E3-9A4A-D953F7537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499999999999999</c:v>
                </c:pt>
              </c:numCache>
            </c:numRef>
          </c:xVal>
          <c:yVal>
            <c:numRef>
              <c:f>Sheet1!$B$2:$B$2</c:f>
              <c:numCache>
                <c:formatCode>General</c:formatCode>
                <c:ptCount val="1"/>
                <c:pt idx="0">
                  <c:v>0.12659449735383391</c:v>
                </c:pt>
              </c:numCache>
            </c:numRef>
          </c:yVal>
          <c:bubbleSize>
            <c:numRef>
              <c:f>Sheet1!$C$2:$C$2</c:f>
              <c:numCache>
                <c:formatCode>General</c:formatCode>
                <c:ptCount val="1"/>
                <c:pt idx="0">
                  <c:v>5341941</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1499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4B546221-A25D-41B7-97E8-8BF0B7E7B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1AC053F-0879-485F-8597-DA910B609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86D63FA4-FC37-4CEF-A71D-3F9CE32C6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499DF9D3-1832-48E5-89E5-676D6D577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0B5A1AAE-CD29-42A2-940B-F7801943C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DAF782B7-89A1-463A-9F23-FB2AF5173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ED00EDF7-7167-4EF3-9DFB-B7879364B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B0223D39-9643-45CB-8BDA-47CA4338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7DF24792-C31B-4B24-AB88-9E321A572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EEA255C9-FFEA-4FFC-AB03-3A8DADFCE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B48BD4BA-8D6B-40BD-A4DF-A4953C666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C36AAEFD-59F6-4AA1-ABE0-741878BB5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C17D167F-FF9D-40D9-AE26-7C8D04B50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DC56A694-C69B-4363-955F-963AB7DE0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E5E641F6-5C35-455B-BA3B-F78D572EB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9F0A1AC7-44A5-4F92-9FE8-DBF97D2D5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0E5DDD5F-7FBD-414C-8209-3A13C646C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A3B54167-8F02-4F58-9877-28E6A957C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8CBE14F5-BA31-4F57-8926-9FB13EA14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BDF4EEBF-9C8E-4B39-8742-265DAF746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C3D650F8-84AB-4084-A9C0-C1F5EAEA7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4624EA3F-72E7-47A9-8A58-B3720B187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0B0D44AC-DBAA-40B7-984C-B6343C532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F8151DE9-093E-4D1C-8F09-AC1538FAC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3F147EB7-CD91-4166-A3A1-5CBEED1A2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FC3DA002-753A-4152-BC29-F709AFDCE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0FEF53C1-A832-4667-9DDC-E5A6DC04A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C0848630-E933-4903-A2F7-549BE558A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6A692999-876F-4DC1-BD68-CFA853CC3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5CBA4100-9A26-46DF-A708-F4971B703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6AE28A7C-D73D-44BD-AED5-27C770A66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14D7A89C-95EC-4F2F-9350-B444BBB19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7B2BF272-E155-48C7-863B-16BB4F1B8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BF512A5C-CDE3-4359-B613-41387B544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C3CA7FB2-4DCD-4EC9-9B72-67C439241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3865532E-A131-4A79-952A-7E674FBB2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7E36244A-2053-492C-99F5-49A8AD538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96586814-670C-42B7-86D1-B8E4CA445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A6FD6F4D-CE89-469B-B0F4-064E76456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F53A8BCC-A1A6-451D-BE56-F4079707D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DFA90467-75D1-416B-B832-79F91DE08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D63CAC7D-1878-4734-AD88-C288DB403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279D3155-7F92-4BBB-9013-C893EEF2B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E46051F-FB25-4C61-806C-145C158E3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808D45F8-B8A1-45B0-9C6D-049A6AAA9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92DCC02D-40EB-4EBA-8CE6-520690EC9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86</c:v>
                </c:pt>
              </c:numCache>
            </c:numRef>
          </c:xVal>
          <c:yVal>
            <c:numRef>
              <c:f>Sheet1!$B$2:$B$2</c:f>
              <c:numCache>
                <c:formatCode>General</c:formatCode>
                <c:ptCount val="1"/>
                <c:pt idx="0">
                  <c:v>0.27279047397178152</c:v>
                </c:pt>
              </c:numCache>
            </c:numRef>
          </c:yVal>
          <c:bubbleSize>
            <c:numRef>
              <c:f>Sheet1!$C$2:$C$2</c:f>
              <c:numCache>
                <c:formatCode>General</c:formatCode>
                <c:ptCount val="1"/>
                <c:pt idx="0">
                  <c:v>25406313</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8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D973F15-7325-4E6C-B268-8E8A4B840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F26BA55-7705-420C-B1ED-45A551645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4FE5CDE-CF41-4670-A181-C30A667C7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B1456845-D682-4988-8B30-023C84AF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6990429A-00F5-48E8-8161-D10F19BA1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EFE38E98-720B-4838-9AB4-3DD8E455B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7A408486-13C3-4BBF-AE90-3E699FCB2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5C43A382-34C9-463A-8F75-8FC0DE1FD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359016AC-8FDD-4263-A4D7-65232A8ED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2FF2CAD2-2576-4634-81B1-AC0D0CD50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16D4C545-FBF0-48F4-A94B-576F0036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23E98105-37E4-4378-9493-F0ED5A571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AA09ADA3-CC31-49AB-AA77-29189EEC7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30606D05-29CB-43D9-A6E7-9269ACF87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CCBD3EFE-A864-42BB-8BAE-3EA34B24D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2FC07970-406E-442B-8904-5BAA20481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6E5225EA-1ACB-418F-86E2-F8A32E11F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DB20ED25-6711-4D95-81DF-F4CF29428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BEE69532-1E70-438D-B125-605C28676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E454D1B-9AC6-47FB-9790-4010F4F11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DD5283C-7ED2-4F94-B280-D26B4E9B7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26C402AC-5B1B-49F5-8134-11FCAE3B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37AC8450-9573-4E0D-B5D9-393758400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8D621087-BD98-4BF5-B0E4-A3A79D185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A3EEA5E5-C3F8-45C1-85AB-A9EB349F6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BAF8CCE7-F6C0-40C1-9AD2-0D06D0EEE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9CF08361-D747-4D67-B7EC-E00156A8C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4FDBE8B6-B26D-4340-AAB4-41E03F783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5C89694F-93F3-4357-B227-008696B37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300DDD9C-924A-4C9A-B7D8-546D15EC1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39ABCC2E-59A2-4B76-90AD-49AE03895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A2AF8250-8A22-48AF-B35B-0AF3CF669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2AE9970C-66F0-47A5-9FB6-A1855DEB6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9D0C8F41-CC96-4A58-9F03-2BE5506A9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5F77011-3CC5-4481-B850-45F867AA3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A0EBB5B5-AE6B-489B-B12A-033B8060C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396ED30-0462-49FF-876E-EC53349F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CC249F72-97D4-4EA6-B1D5-ADB7B739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AB3E4DE0-773D-4FBB-B446-D8A769313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BA2BB3BD-EFCC-430A-A52B-C55FD0313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3C88C316-3003-4CF3-8C7F-16D59DB53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1E2DF1D5-4118-4C8B-84EA-D2CDB40D3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9934D459-6431-4391-A801-AF1AD10F0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4E1594D1-1EB6-472E-83D7-6EE58FBCF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33606449-2C6A-4EBF-A9AC-CF09204EF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D8DF953-8142-405E-8BC4-C1755D534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CC4FB53-C836-495A-A3DA-14FE76CC0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77DB147-B27F-4EB2-B078-54CFB36FB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58C70E5-2CA8-44E3-99CE-0BEE615FF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F36A2381-2E73-40AE-B672-EA6046199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795A8997-AD23-43CF-90D5-CC112502A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39B4FE53-EE7D-4901-B472-D19C61BC9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8A8AC4CD-454C-4DB3-9E93-F4F4B5544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2FE283AB-F592-4488-90BE-E2C7CD05C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2DC6FA02-4A0D-44C4-9D6D-95CD15CE4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C079B734-8592-4FD2-B785-81589A107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59559ABC-5525-4717-B97C-3FBCB423C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2244BD94-5A8B-4220-AF64-72F8078AB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42606E53-1307-4FB8-A561-BD5AC38AB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CF31E0EA-D1D1-4EDD-9378-BEA69492C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45906651-6908-4F63-B970-8735DB9B2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1993329-3557-488F-8939-66330BA60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AF92B382-C66B-4326-9406-2E02D93CB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2BF07E96-B10F-48C2-9C67-9CD67B027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49462FB-9EF4-4681-A7CD-D1C5B1705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B6664708-C10B-464E-93D4-96AA491EA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CEBDF070-C222-4850-9B3A-44F98CED3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1EE23912-24D5-44F3-A3DE-91CBE9A1E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4F424C83-CDCF-4E38-8452-BE9F1331A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9AD8A739-3C0D-4FA3-90EE-4748ADCEA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45B8FE6-D7A7-4C89-8654-AB1EF52AD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2BB91639-3875-427D-B1B6-252339FE1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D5AF0B5-1B38-4426-8862-16037217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5010DA00-DDD3-4740-B481-ABB4F4BB3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D9E388D4-8FE1-48D1-93B0-22A053343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95EFF584-CBD1-46BA-A90F-4CD195735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3A7A0B03-3EB4-4106-A52C-6AA3BFC50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8A5120E0-1BAE-4FBB-A618-0BCA41C69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5E02130E-0633-4024-8350-554AEE349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5D05EC4-2D36-4CF4-AA48-C99909185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F643D0B-08E9-4B9B-94E9-087329A40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05FD795-155E-47C7-9C95-444709816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9E6A7B55-D79F-4970-B0F3-ED90591CC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0064AC52-27D4-4101-91AA-CB1CF61AB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4455B47D-626E-467F-8E4A-868196E8C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A530AA4D-3837-4A27-AC00-F5B6AE274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93EB6AD1-3403-4215-965B-ACB2B904A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D9BE3E44-500E-416E-8933-95E7D117D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98E05FE9-BEC9-4DB4-8454-CEDD1EB00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8778FA8-0BC8-4465-A0C8-F83C508A9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9D5F627-4044-4240-A8C0-94CA04A95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22D2647-006A-4C0E-9795-96FF5C9AA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c:v>
                </c:pt>
                <c:pt idx="1">
                  <c:v>1.72</c:v>
                </c:pt>
                <c:pt idx="2">
                  <c:v>1.24</c:v>
                </c:pt>
                <c:pt idx="3">
                  <c:v>0.91</c:v>
                </c:pt>
                <c:pt idx="4">
                  <c:v>0.03</c:v>
                </c:pt>
              </c:numCache>
            </c:numRef>
          </c:xVal>
          <c:yVal>
            <c:numRef>
              <c:f>Sheet1!$B$2:$B$6</c:f>
              <c:numCache>
                <c:formatCode>General</c:formatCode>
                <c:ptCount val="5"/>
                <c:pt idx="0">
                  <c:v>0.81460090735963353</c:v>
                </c:pt>
                <c:pt idx="1">
                  <c:v>0.7383750528378934</c:v>
                </c:pt>
                <c:pt idx="2">
                  <c:v>0.76790738086259158</c:v>
                </c:pt>
                <c:pt idx="3">
                  <c:v>0.14103156992395741</c:v>
                </c:pt>
                <c:pt idx="4">
                  <c:v>0.10001820721860551</c:v>
                </c:pt>
              </c:numCache>
            </c:numRef>
          </c:yVal>
          <c:bubbleSize>
            <c:numRef>
              <c:f>Sheet1!$C$2:$C$6</c:f>
              <c:numCache>
                <c:formatCode>General</c:formatCode>
                <c:ptCount val="5"/>
                <c:pt idx="0">
                  <c:v>1778216</c:v>
                </c:pt>
                <c:pt idx="1">
                  <c:v>1356208</c:v>
                </c:pt>
                <c:pt idx="2">
                  <c:v>901567</c:v>
                </c:pt>
                <c:pt idx="3">
                  <c:v>619932</c:v>
                </c:pt>
                <c:pt idx="4">
                  <c:v>829105</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08"/>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3E03046-AF69-4F48-BEB3-D2B9EA167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6EA154B-E0FF-4390-8830-9D07FE01A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DA0CEB78-008B-49CB-A8CC-A63727F9F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389B0DE9-63BD-4C88-A8EE-A08ADEA74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51D22580-789C-4BAC-B524-A88435CB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A2DAF8F8-8B5E-4815-B6F5-744667A5B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9AE7EA88-BF19-4828-8EA1-E40178A72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57CB2339-6512-41D2-915A-C85BEF695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FCB838F8-FE0E-4E36-9ACC-899E1D394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A3E4F490-2E18-4E36-929C-BCA5A0BE8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E2325F12-20B3-44B2-B25F-F3CA92D8A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BF38F299-C403-4DDB-8FD6-E083EFB69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EE21E10-1584-4559-B019-FA817C2E7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282EE4FE-ADC3-4020-972D-05CDA0B83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DB909EC3-55EE-44A7-8A0A-3A856745B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6DBC4036-F49F-4E2A-B2F3-36A81305D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A86F2EC9-8A8E-4C72-A66D-C10F2629C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18926F26-692F-43C1-835F-6B7B57CFA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76E6DD4E-C688-4FE7-A562-37B53321D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7E785D31-70DE-42CC-9BFD-5754102D9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E9842AF5-AD36-44DE-8BA3-5BF029EFB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8C447AC1-556C-4CFD-B0CC-AA8384F51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AAB263E9-17E7-4878-9ABC-94F5424F5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67DF256-F307-4F6C-A6A4-481D04CBD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8D1DE4DD-E7B7-411C-8FBD-A146AB70F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D1EAA91E-901D-43F8-BE0F-3AC42FF79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F99994AB-24FC-4431-83B2-15A293419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BEBBC43-0FBB-4E56-AE90-F895F065C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0DBECDAA-F2A6-4E11-A4E3-4BC145F1E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407F3026-3A84-4EA1-90B7-41A459E39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20FBD3FD-0A31-4D03-9027-0981AE312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3F2BADE2-FE34-4FC4-9750-95F9D4CED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4E17F948-EC3B-4DEC-B63C-FDB8FA05D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4F51800A-D7BD-412F-A386-AB49B599B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587575BD-B4DD-45CE-B861-8563B0D1E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738DBE1-5090-497E-AA36-4A4C1CF87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58A35D4F-4296-4970-99E5-5CB135252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19233BB0-2BB1-455D-B3AB-14A182F59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E4B32587-6624-4D03-A34D-BE12EBA5E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002A3E48-DC68-496C-B627-806F82DBF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8F83396F-13EB-428F-B320-8EA74DD2F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E30741B8-0D82-484D-8391-1CF4A760C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D98D1F45-33EB-4A65-AED5-B3992AB16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7BBCED09-C9B1-4413-9C58-8D64EC601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C527899-2AE1-48AB-9B20-AB9185869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69DECEB-602F-42B2-A5F8-6780B9ECA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7</c:v>
                </c:pt>
                <c:pt idx="1">
                  <c:v>1.39</c:v>
                </c:pt>
                <c:pt idx="2">
                  <c:v>-0.03</c:v>
                </c:pt>
                <c:pt idx="3">
                  <c:v>-0.69</c:v>
                </c:pt>
              </c:numCache>
            </c:numRef>
          </c:xVal>
          <c:yVal>
            <c:numRef>
              <c:f>Sheet1!$B$2:$B$5</c:f>
              <c:numCache>
                <c:formatCode>General</c:formatCode>
                <c:ptCount val="4"/>
                <c:pt idx="0">
                  <c:v>0.240954913595957</c:v>
                </c:pt>
                <c:pt idx="1">
                  <c:v>0.13864863616545811</c:v>
                </c:pt>
                <c:pt idx="2">
                  <c:v>-1.9226785309249528E-2</c:v>
                </c:pt>
                <c:pt idx="3">
                  <c:v>-5.4076604412468622E-2</c:v>
                </c:pt>
              </c:numCache>
            </c:numRef>
          </c:yVal>
          <c:bubbleSize>
            <c:numRef>
              <c:f>Sheet1!$C$2:$C$5</c:f>
              <c:numCache>
                <c:formatCode>General</c:formatCode>
                <c:ptCount val="4"/>
                <c:pt idx="0">
                  <c:v>1162498</c:v>
                </c:pt>
                <c:pt idx="1">
                  <c:v>1539499</c:v>
                </c:pt>
                <c:pt idx="2">
                  <c:v>914106</c:v>
                </c:pt>
                <c:pt idx="3">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57999999999999996</c:v>
                </c:pt>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42000000000000004</c:v>
                </c:pt>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11</c:v>
                </c:pt>
                <c:pt idx="1">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89</c:v>
                </c:pt>
                <c:pt idx="1">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6</c:v>
                </c:pt>
                <c:pt idx="1">
                  <c:v>0.05</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4</c:v>
                </c:pt>
                <c:pt idx="1">
                  <c:v>0.9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1">
                  <c:v>0.04</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1">
                  <c:v>0.9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04</c:v>
                </c:pt>
                <c:pt idx="1">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96</c:v>
                </c:pt>
                <c:pt idx="1">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B$2:$B$3</c:f>
              <c:numCache>
                <c:formatCode>General</c:formatCode>
                <c:ptCount val="2"/>
                <c:pt idx="0">
                  <c:v>0.11</c:v>
                </c:pt>
                <c:pt idx="1">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c:v>
                </c:pt>
                <c:pt idx="1">
                  <c:v>System</c:v>
                </c:pt>
              </c:strCache>
            </c:strRef>
          </c:cat>
          <c:val>
            <c:numRef>
              <c:f>Sheet1!$C$2:$C$3</c:f>
              <c:numCache>
                <c:formatCode>General</c:formatCode>
                <c:ptCount val="2"/>
                <c:pt idx="0">
                  <c:v>0.89</c:v>
                </c:pt>
                <c:pt idx="1">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pt idx="0">
                  <c:v>0.55000000000000004</c:v>
                </c:pt>
                <c:pt idx="1">
                  <c:v>0.56000000000000005</c:v>
                </c:pt>
                <c:pt idx="2">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pt idx="0">
                  <c:v>0.44999999999999996</c:v>
                </c:pt>
                <c:pt idx="1">
                  <c:v>0.43999999999999995</c:v>
                </c:pt>
                <c:pt idx="2">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pt idx="0">
                  <c:v>0.55000000000000004</c:v>
                </c:pt>
                <c:pt idx="1">
                  <c:v>0.56000000000000005</c:v>
                </c:pt>
                <c:pt idx="2">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pt idx="0">
                  <c:v>0.44999999999999996</c:v>
                </c:pt>
                <c:pt idx="1">
                  <c:v>0.43999999999999995</c:v>
                </c:pt>
                <c:pt idx="2">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pt idx="2">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pt idx="2">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pt idx="0">
                  <c:v>0.55000000000000004</c:v>
                </c:pt>
                <c:pt idx="1">
                  <c:v>0.56000000000000005</c:v>
                </c:pt>
                <c:pt idx="2">
                  <c:v>0.5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pt idx="0">
                  <c:v>0.44999999999999996</c:v>
                </c:pt>
                <c:pt idx="1">
                  <c:v>0.43999999999999995</c:v>
                </c:pt>
                <c:pt idx="2">
                  <c:v>0.45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301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B$2:$B$4</c:f>
              <c:numCache>
                <c:formatCode>General</c:formatCode>
                <c:ptCount val="3"/>
                <c:pt idx="2">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efills</c:v>
                </c:pt>
                <c:pt idx="2">
                  <c:v>Razors</c:v>
                </c:pt>
              </c:strCache>
            </c:strRef>
          </c:cat>
          <c:val>
            <c:numRef>
              <c:f>Sheet1!$C$2:$C$4</c:f>
              <c:numCache>
                <c:formatCode>General</c:formatCode>
                <c:ptCount val="3"/>
                <c:pt idx="2">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1">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1">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1">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1">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1">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1">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0">
                  <c:v>0.08</c:v>
                </c:pt>
                <c:pt idx="1">
                  <c:v>0.04</c:v>
                </c:pt>
                <c:pt idx="2">
                  <c:v>0.09</c:v>
                </c:pt>
                <c:pt idx="3">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0">
                  <c:v>0.92</c:v>
                </c:pt>
                <c:pt idx="1">
                  <c:v>0.96</c:v>
                </c:pt>
                <c:pt idx="2">
                  <c:v>0.91</c:v>
                </c:pt>
                <c:pt idx="3">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c:v>
                </c:pt>
                <c:pt idx="1">
                  <c:v>0.42900000000000005</c:v>
                </c:pt>
                <c:pt idx="2">
                  <c:v>8.6999999999999966E-2</c:v>
                </c:pt>
                <c:pt idx="3">
                  <c:v>0.55600000000000005</c:v>
                </c:pt>
                <c:pt idx="4">
                  <c:v>0.667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1">
                  <c:v>0.28999999999999998</c:v>
                </c:pt>
                <c:pt idx="2">
                  <c:v>0.33</c:v>
                </c:pt>
                <c:pt idx="3">
                  <c:v>0.2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1">
                  <c:v>0.71</c:v>
                </c:pt>
                <c:pt idx="2">
                  <c:v>0.66999999999999993</c:v>
                </c:pt>
                <c:pt idx="3">
                  <c:v>0.7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0">
                  <c:v>0.08</c:v>
                </c:pt>
                <c:pt idx="1">
                  <c:v>0.04</c:v>
                </c:pt>
                <c:pt idx="2">
                  <c:v>0.09</c:v>
                </c:pt>
                <c:pt idx="3">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0">
                  <c:v>0.92</c:v>
                </c:pt>
                <c:pt idx="1">
                  <c:v>0.96</c:v>
                </c:pt>
                <c:pt idx="2">
                  <c:v>0.91</c:v>
                </c:pt>
                <c:pt idx="3">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1">
                  <c:v>0.06</c:v>
                </c:pt>
                <c:pt idx="2">
                  <c:v>0.02</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1">
                  <c:v>0.94</c:v>
                </c:pt>
                <c:pt idx="2">
                  <c:v>0.98</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0">
                  <c:v>0.08</c:v>
                </c:pt>
                <c:pt idx="1">
                  <c:v>0.04</c:v>
                </c:pt>
                <c:pt idx="2">
                  <c:v>0.09</c:v>
                </c:pt>
                <c:pt idx="3">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0">
                  <c:v>0.92</c:v>
                </c:pt>
                <c:pt idx="1">
                  <c:v>0.96</c:v>
                </c:pt>
                <c:pt idx="2">
                  <c:v>0.91</c:v>
                </c:pt>
                <c:pt idx="3">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1">
                  <c:v>0.06</c:v>
                </c:pt>
                <c:pt idx="2">
                  <c:v>0.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1">
                  <c:v>0.94</c:v>
                </c:pt>
                <c:pt idx="2">
                  <c:v>0.9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0">
                  <c:v>0.08</c:v>
                </c:pt>
                <c:pt idx="1">
                  <c:v>0.04</c:v>
                </c:pt>
                <c:pt idx="2">
                  <c:v>0.09</c:v>
                </c:pt>
                <c:pt idx="3">
                  <c:v>0.22</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0">
                  <c:v>0.92</c:v>
                </c:pt>
                <c:pt idx="1">
                  <c:v>0.96</c:v>
                </c:pt>
                <c:pt idx="2">
                  <c:v>0.91</c:v>
                </c:pt>
                <c:pt idx="3">
                  <c:v>0.78</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B$2:$B$5</c:f>
              <c:numCache>
                <c:formatCode>General</c:formatCode>
                <c:ptCount val="4"/>
                <c:pt idx="1">
                  <c:v>0.28000000000000003</c:v>
                </c:pt>
                <c:pt idx="2">
                  <c:v>0.33</c:v>
                </c:pt>
                <c:pt idx="3">
                  <c:v>0.2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Refills</c:v>
                </c:pt>
                <c:pt idx="2">
                  <c:v>Razors</c:v>
                </c:pt>
                <c:pt idx="3">
                  <c:v>Hybrid</c:v>
                </c:pt>
              </c:strCache>
            </c:strRef>
          </c:cat>
          <c:val>
            <c:numRef>
              <c:f>Sheet1!$C$2:$C$5</c:f>
              <c:numCache>
                <c:formatCode>General</c:formatCode>
                <c:ptCount val="4"/>
                <c:pt idx="1">
                  <c:v>0.72</c:v>
                </c:pt>
                <c:pt idx="2">
                  <c:v>0.66999999999999993</c:v>
                </c:pt>
                <c:pt idx="3">
                  <c:v>0.7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97.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98.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0.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1.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2.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3.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05.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06.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07.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08.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6.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7.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28.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29.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0.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1.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2.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3.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35.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6.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7.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38.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39.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0.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1.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2.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3.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45.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46.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47.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48.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49.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0.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1.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2.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3.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55.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56.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57.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58.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62.xml"/><Relationship Id="rId5" Type="http://schemas.openxmlformats.org/officeDocument/2006/relationships/chart" Target="../charts/chart161.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3.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5.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6.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9.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81.xml"/><Relationship Id="rId5" Type="http://schemas.openxmlformats.org/officeDocument/2006/relationships/chart" Target="../charts/chart180.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6.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7.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8.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9.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90.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91.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3.xml"/><Relationship Id="rId5" Type="http://schemas.openxmlformats.org/officeDocument/2006/relationships/chart" Target="../charts/chart192.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5.xml"/><Relationship Id="rId5" Type="http://schemas.openxmlformats.org/officeDocument/2006/relationships/chart" Target="../charts/chart194.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01.xml"/><Relationship Id="rId5" Type="http://schemas.openxmlformats.org/officeDocument/2006/relationships/chart" Target="../charts/chart20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07.xml"/><Relationship Id="rId5" Type="http://schemas.openxmlformats.org/officeDocument/2006/relationships/chart" Target="../charts/chart206.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11.xml"/><Relationship Id="rId5" Type="http://schemas.openxmlformats.org/officeDocument/2006/relationships/chart" Target="../charts/chart210.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223.xml"/><Relationship Id="rId5" Type="http://schemas.openxmlformats.org/officeDocument/2006/relationships/chart" Target="../charts/chart222.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225.xml"/><Relationship Id="rId5" Type="http://schemas.openxmlformats.org/officeDocument/2006/relationships/chart" Target="../charts/chart224.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36.xml"/><Relationship Id="rId4" Type="http://schemas.openxmlformats.org/officeDocument/2006/relationships/image" Target="../media/image31.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37.xml"/><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31.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41.xml"/><Relationship Id="rId5" Type="http://schemas.openxmlformats.org/officeDocument/2006/relationships/chart" Target="../charts/chart240.xml"/><Relationship Id="rId4" Type="http://schemas.openxmlformats.org/officeDocument/2006/relationships/image" Target="../media/image31.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42.xml"/><Relationship Id="rId4" Type="http://schemas.openxmlformats.org/officeDocument/2006/relationships/image" Target="../media/image31.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43.xml"/><Relationship Id="rId4" Type="http://schemas.openxmlformats.org/officeDocument/2006/relationships/image" Target="../media/image31.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31.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47.xml"/><Relationship Id="rId5" Type="http://schemas.openxmlformats.org/officeDocument/2006/relationships/chart" Target="../charts/chart246.xml"/><Relationship Id="rId4" Type="http://schemas.openxmlformats.org/officeDocument/2006/relationships/image" Target="../media/image31.emf"/></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chart" Target="../charts/chart25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53.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5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5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5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5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5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6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6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6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6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6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269.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6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7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7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7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7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7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7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7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280.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chart" Target="../charts/chart286.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296.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04.xml"/><Relationship Id="rId7" Type="http://schemas.openxmlformats.org/officeDocument/2006/relationships/chart" Target="../charts/chart302.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309.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310.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311.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312.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313.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314.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315.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316.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317.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318.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319.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3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0803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14674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29886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181802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09732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385303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88090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26810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3232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2503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960788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9151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88211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816600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4177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989308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91865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418960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09737112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9136465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085087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0351444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64973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717977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59239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47889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401182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765907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998390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7889164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213051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j's And Sam's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66915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0740078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79070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3743400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886554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022987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9163471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Manual Shave Men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9125998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857665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850634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90794263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Manual Shave Men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721684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System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922232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System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5042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17253459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5438426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9983819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39107521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System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5181540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3800416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96724296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330523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6917106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28365447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942085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9074379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9160860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63093888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199215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Disposable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3008649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Razor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7842556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Bj's And Sam's | Razor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3389519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08579007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279849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134653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azor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08422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88331736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8344949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5040101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7356946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Walmart | Refills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830869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8387576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13698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956396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532627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3383349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4581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73534650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78652292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4656675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528163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3055310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413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571168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972800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411448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4805661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219060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34369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585118036"/>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1152696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425704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465611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Cremo</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263341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Edgewell Personal Car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75463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Equate</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726538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chick</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237017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Manual Shave Men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06110745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10109363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9064602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Manual Shave Men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23537345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79641246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3810719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56434647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65406585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5328486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98968035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57532511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5330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689579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20186435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Manual Shave Men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76672604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76485444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4998338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System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83325245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0239338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6097160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6976345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49680514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938619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0078224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38068409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17278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System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43903245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04210335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12738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23785965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53982633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6380255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27637853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41477095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7510508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32094718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39445599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913834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09876293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77203482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6163377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13388348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19161558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42785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37240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214907742"/>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1266309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Disposable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71124424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02734266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136222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Bj's And Sam's | Razor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806091641"/>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50996127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2542522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9032746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419523885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7393631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5271071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11500122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1626744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azor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899683511"/>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91549922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72391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Schick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0868615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8533854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5013333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Equate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1832442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0132456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2331232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Walmart | Refills | Cremo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36969285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37130592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955544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Bj's And Sam's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839838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Walmart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3759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71475419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421065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Bj's And Sam's | Manual Shave Men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9021098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Walmart | Manual Shave Men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1136081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Bj's And Sam's | Disposable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62627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Walmart | Disposable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632374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Bj's And Sam's | System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055601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Walmart | System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1141388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936601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027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161271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5819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254949688"/>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4913365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3882558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340062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631803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79153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0507251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776274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63524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0000209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537978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5603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527469156"/>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14444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239082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7123744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Cremo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3248980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dgewell Personal Car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703608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3111339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4709095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81826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6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97494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11249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24201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117199186"/>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938302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0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965927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084542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696858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271172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079145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06486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215476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966100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65234038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989297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System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181080839"/>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3155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8630615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2839469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60725862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23283918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42919044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5847187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929212602"/>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1284722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06025241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8270900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669041402"/>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3476395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74832104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42892932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635812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8568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602164100"/>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070500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658191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200580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System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791533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7835811"/>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836345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622827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909164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Disposable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47406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azor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274969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Refill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229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System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986700200"/>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548676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2128782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System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5360250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7375399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Disposable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0505273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azor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78435407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Walmart | Refill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09555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523895362"/>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5606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4176886332"/>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839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7327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Razor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648075360"/>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76614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Refill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327883579"/>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07445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Disposable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39620380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59265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Razor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421877143"/>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732528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Refill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458654280"/>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73282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GREEN 3 BLADE DISPOSABLE SENSITIVE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19750283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157699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2544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2544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2544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2544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2544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25440">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25440">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25440">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25440">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25440">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25440">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25440">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25440">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25440">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25440">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25440">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80378678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9099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System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416373859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05072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93621085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922886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System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4"/>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00587">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300587">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300587">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300587">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300587">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300587">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300587">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300587">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300587">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300587">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300587">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300587">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989680447"/>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6334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4499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31978192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4940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156275700"/>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103882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Razor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1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88419235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0762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Refill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40707999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89977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Disposable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602336707"/>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69638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Razor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82846278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826601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Refill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540936077"/>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83594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3.51</a:t>
                      </a:r>
                    </a:p>
                  </a:txBody>
                  <a:tcPr marL="2858" marR="2858" marT="2858" marB="0" anchor="ctr">
                    <a:noFill/>
                  </a:tcPr>
                </a:tc>
                <a:tc>
                  <a:txBody>
                    <a:bodyPr/>
                    <a:lstStyle/>
                    <a:p>
                      <a:pPr algn="ctr">
                        <a:defRPr sz="600">
                          <a:latin typeface="Nexa Book"/>
                        </a:defRPr>
                      </a:pPr>
                      <a:r>
                        <a:rPr sz="600">
                          <a:latin typeface="Nexa Book"/>
                        </a:rPr>
                        <a:t> 30.52</a:t>
                      </a:r>
                    </a:p>
                  </a:txBody>
                  <a:tcPr marL="2858" marR="2858" marT="2858" marB="0" anchor="ctr">
                    <a:noFill/>
                  </a:tcPr>
                </a:tc>
                <a:tc>
                  <a:txBody>
                    <a:bodyPr/>
                    <a:lstStyle/>
                    <a:p>
                      <a:pPr algn="ctr">
                        <a:defRPr sz="600">
                          <a:latin typeface="Nexa Book"/>
                        </a:defRPr>
                      </a:pPr>
                      <a:r>
                        <a:rPr sz="600">
                          <a:latin typeface="Nexa Book"/>
                        </a:rPr>
                        <a:t>8'454'93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1529188</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7335127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72"/>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02582">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644045330"/>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02582">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839229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800852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System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52216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1572750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53095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0262832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889005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AZOR NORMAL 1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6.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3.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1'94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09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616693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7620070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00954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723979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4.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9.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62'49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05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837182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685505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69055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682642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974093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9254786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610153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763795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054363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6075480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919518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77503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Equa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EQUATE EASY FIT 5 5 BLADE REFILL NORMAL 1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5.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6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8%</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117897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Disposable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6812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2546568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4062921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System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373967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481073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System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2936059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246809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5905266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azors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228823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Disposable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0860228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azor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9.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075194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azor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69543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Refills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01314728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66247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635181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82568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758121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60270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70708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13230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72340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5888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Refills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25114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06838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07139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2044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84721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43576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59629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61138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64129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684889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3620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2</TotalTime>
  <Words>30041</Words>
  <Application>Microsoft Office PowerPoint</Application>
  <PresentationFormat>On-screen Show (16:9)</PresentationFormat>
  <Paragraphs>9840</Paragraphs>
  <Slides>275</Slides>
  <Notes>12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75</vt:i4>
      </vt:variant>
    </vt:vector>
  </HeadingPairs>
  <TitlesOfParts>
    <vt:vector size="289" baseType="lpstr">
      <vt:lpstr>Aptos</vt:lpstr>
      <vt:lpstr>Arial</vt:lpstr>
      <vt:lpstr>Calibri</vt:lpstr>
      <vt:lpstr>Nexa</vt:lpstr>
      <vt:lpstr>Nexa Bold</vt:lpstr>
      <vt:lpstr>Nexa Bold (Headings)</vt:lpstr>
      <vt:lpstr>Nexa Book</vt:lpstr>
      <vt:lpstr>Nexa Book (Body)</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60</cp:revision>
  <dcterms:created xsi:type="dcterms:W3CDTF">2024-07-08T12:46:55Z</dcterms:created>
  <dcterms:modified xsi:type="dcterms:W3CDTF">2025-08-18T11:3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